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4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5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6.xml" ContentType="application/vnd.openxmlformats-officedocument.them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7.xml" ContentType="application/vnd.openxmlformats-officedocument.theme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8.xml" ContentType="application/vnd.openxmlformats-officedocument.theme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heme/theme9.xml" ContentType="application/vnd.openxmlformats-officedocument.them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notesSlides/notesSlide1.xml" ContentType="application/vnd.openxmlformats-officedocument.presentationml.notesSlid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notesSlides/notesSlide2.xml" ContentType="application/vnd.openxmlformats-officedocument.presentationml.notesSlide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notesSlides/notesSlide3.xml" ContentType="application/vnd.openxmlformats-officedocument.presentationml.notesSlid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notesSlides/notesSlide4.xml" ContentType="application/vnd.openxmlformats-officedocument.presentationml.notesSlide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notesSlides/notesSlide5.xml" ContentType="application/vnd.openxmlformats-officedocument.presentationml.notesSlide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86" r:id="rId2"/>
    <p:sldMasterId id="2147484045" r:id="rId3"/>
    <p:sldMasterId id="2147483917" r:id="rId4"/>
    <p:sldMasterId id="2147483951" r:id="rId5"/>
    <p:sldMasterId id="2147484080" r:id="rId6"/>
    <p:sldMasterId id="2147484114" r:id="rId7"/>
    <p:sldMasterId id="2147484139" r:id="rId8"/>
  </p:sldMasterIdLst>
  <p:notesMasterIdLst>
    <p:notesMasterId r:id="rId25"/>
  </p:notesMasterIdLst>
  <p:sldIdLst>
    <p:sldId id="531" r:id="rId9"/>
    <p:sldId id="535" r:id="rId10"/>
    <p:sldId id="537" r:id="rId11"/>
    <p:sldId id="538" r:id="rId12"/>
    <p:sldId id="552" r:id="rId13"/>
    <p:sldId id="553" r:id="rId14"/>
    <p:sldId id="554" r:id="rId15"/>
    <p:sldId id="555" r:id="rId16"/>
    <p:sldId id="556" r:id="rId17"/>
    <p:sldId id="557" r:id="rId18"/>
    <p:sldId id="558" r:id="rId19"/>
    <p:sldId id="559" r:id="rId20"/>
    <p:sldId id="560" r:id="rId21"/>
    <p:sldId id="561" r:id="rId22"/>
    <p:sldId id="562" r:id="rId23"/>
    <p:sldId id="563" r:id="rId24"/>
  </p:sldIdLst>
  <p:sldSz cx="12192000" cy="6858000"/>
  <p:notesSz cx="7315200" cy="96012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CE1968B-BD1A-47C8-AE90-55A196F2BF02}">
          <p14:sldIdLst>
            <p14:sldId id="531"/>
            <p14:sldId id="535"/>
            <p14:sldId id="537"/>
            <p14:sldId id="538"/>
            <p14:sldId id="552"/>
            <p14:sldId id="553"/>
            <p14:sldId id="554"/>
            <p14:sldId id="555"/>
            <p14:sldId id="556"/>
            <p14:sldId id="557"/>
            <p14:sldId id="558"/>
            <p14:sldId id="559"/>
            <p14:sldId id="560"/>
            <p14:sldId id="561"/>
            <p14:sldId id="562"/>
            <p14:sldId id="563"/>
          </p14:sldIdLst>
        </p14:section>
        <p14:section name="E2E Process" id="{D7387667-8497-4064-BB26-0A8A84B2BCCC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ande Stols (DHL CSI)" initials="OS(C" lastIdx="3" clrIdx="0">
    <p:extLst>
      <p:ext uri="{19B8F6BF-5375-455C-9EA6-DF929625EA0E}">
        <p15:presenceInfo xmlns:p15="http://schemas.microsoft.com/office/powerpoint/2012/main" userId="S-1-5-21-2763872571-2999947588-3099097816-30765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1105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0930" autoAdjust="0"/>
  </p:normalViewPr>
  <p:slideViewPr>
    <p:cSldViewPr snapToGrid="0">
      <p:cViewPr varScale="1">
        <p:scale>
          <a:sx n="101" d="100"/>
          <a:sy n="101" d="100"/>
        </p:scale>
        <p:origin x="852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48FAD013-60F1-4A2A-8C73-3F1742A4AC9B}" type="datetimeFigureOut">
              <a:rPr lang="de-DE" smtClean="0"/>
              <a:t>31.05.2021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23631A0E-33E0-418D-90F5-7B633098BB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5267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77807" lvl="1" defTabSz="955613">
              <a:defRPr/>
            </a:pPr>
            <a:endParaRPr lang="en-US" sz="13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30A20B-829A-4700-9E88-E5BFC5E3039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18716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77807" lvl="1" defTabSz="955613">
              <a:defRPr/>
            </a:pPr>
            <a:endParaRPr lang="en-US" sz="13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30A20B-829A-4700-9E88-E5BFC5E3039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79788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77807" lvl="1" defTabSz="955613">
              <a:defRPr/>
            </a:pPr>
            <a:endParaRPr lang="en-US" sz="13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>
              <a:defRPr/>
            </a:pPr>
            <a:fld id="{2630A20B-829A-4700-9E88-E5BFC5E30394}" type="slidenum">
              <a:rPr lang="en-US" smtClean="0">
                <a:solidFill>
                  <a:prstClr val="black"/>
                </a:solidFill>
              </a:rPr>
              <a:pPr defTabSz="685800">
                <a:defRPr/>
              </a:pPr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1264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753AD6-CEF2-4FD5-AABC-FCC5FC528AD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8785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753AD6-CEF2-4FD5-AABC-FCC5FC528AD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49970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8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02.xml"/><Relationship Id="rId7" Type="http://schemas.openxmlformats.org/officeDocument/2006/relationships/image" Target="../media/image16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208.xml"/><Relationship Id="rId7" Type="http://schemas.openxmlformats.org/officeDocument/2006/relationships/image" Target="../media/image21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10.xml"/><Relationship Id="rId7" Type="http://schemas.openxmlformats.org/officeDocument/2006/relationships/image" Target="../media/image21.png"/><Relationship Id="rId2" Type="http://schemas.openxmlformats.org/officeDocument/2006/relationships/tags" Target="../tags/tag209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12.xml"/><Relationship Id="rId7" Type="http://schemas.openxmlformats.org/officeDocument/2006/relationships/image" Target="../media/image21.png"/><Relationship Id="rId2" Type="http://schemas.openxmlformats.org/officeDocument/2006/relationships/tags" Target="../tags/tag211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214.xml"/><Relationship Id="rId7" Type="http://schemas.openxmlformats.org/officeDocument/2006/relationships/image" Target="../media/image21.png"/><Relationship Id="rId2" Type="http://schemas.openxmlformats.org/officeDocument/2006/relationships/tags" Target="../tags/tag213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16.xml"/><Relationship Id="rId7" Type="http://schemas.openxmlformats.org/officeDocument/2006/relationships/image" Target="../media/image21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0.xml"/><Relationship Id="rId7" Type="http://schemas.openxmlformats.org/officeDocument/2006/relationships/image" Target="../media/image9.pn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18.xml"/><Relationship Id="rId7" Type="http://schemas.openxmlformats.org/officeDocument/2006/relationships/image" Target="../media/image21.png"/><Relationship Id="rId2" Type="http://schemas.openxmlformats.org/officeDocument/2006/relationships/tags" Target="../tags/tag217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20.xml"/><Relationship Id="rId7" Type="http://schemas.openxmlformats.org/officeDocument/2006/relationships/image" Target="../media/image3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109.vml"/><Relationship Id="rId6" Type="http://schemas.openxmlformats.org/officeDocument/2006/relationships/oleObject" Target="../embeddings/oleObject109.bin"/><Relationship Id="rId5" Type="http://schemas.openxmlformats.org/officeDocument/2006/relationships/image" Target="../media/image25.pn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26.png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22.xml"/><Relationship Id="rId7" Type="http://schemas.openxmlformats.org/officeDocument/2006/relationships/image" Target="../media/image3.emf"/><Relationship Id="rId2" Type="http://schemas.openxmlformats.org/officeDocument/2006/relationships/tags" Target="../tags/tag221.xml"/><Relationship Id="rId1" Type="http://schemas.openxmlformats.org/officeDocument/2006/relationships/vmlDrawing" Target="../drawings/vmlDrawing110.vml"/><Relationship Id="rId6" Type="http://schemas.openxmlformats.org/officeDocument/2006/relationships/oleObject" Target="../embeddings/oleObject110.bin"/><Relationship Id="rId5" Type="http://schemas.openxmlformats.org/officeDocument/2006/relationships/image" Target="../media/image27.png"/><Relationship Id="rId4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7" Type="http://schemas.openxmlformats.org/officeDocument/2006/relationships/image" Target="../media/image20.png"/><Relationship Id="rId2" Type="http://schemas.openxmlformats.org/officeDocument/2006/relationships/tags" Target="../tags/tag223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26.xml"/><Relationship Id="rId7" Type="http://schemas.openxmlformats.org/officeDocument/2006/relationships/image" Target="../media/image3.emf"/><Relationship Id="rId2" Type="http://schemas.openxmlformats.org/officeDocument/2006/relationships/tags" Target="../tags/tag225.xml"/><Relationship Id="rId1" Type="http://schemas.openxmlformats.org/officeDocument/2006/relationships/vmlDrawing" Target="../drawings/vmlDrawing112.vml"/><Relationship Id="rId6" Type="http://schemas.openxmlformats.org/officeDocument/2006/relationships/oleObject" Target="../embeddings/oleObject112.bin"/><Relationship Id="rId5" Type="http://schemas.openxmlformats.org/officeDocument/2006/relationships/image" Target="../media/image28.jpeg"/><Relationship Id="rId4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20.png"/><Relationship Id="rId2" Type="http://schemas.openxmlformats.org/officeDocument/2006/relationships/tags" Target="../tags/tag227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20.png"/><Relationship Id="rId2" Type="http://schemas.openxmlformats.org/officeDocument/2006/relationships/tags" Target="../tags/tag229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7" Type="http://schemas.openxmlformats.org/officeDocument/2006/relationships/image" Target="../media/image20.png"/><Relationship Id="rId2" Type="http://schemas.openxmlformats.org/officeDocument/2006/relationships/tags" Target="../tags/tag231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7" Type="http://schemas.openxmlformats.org/officeDocument/2006/relationships/image" Target="../media/image20.png"/><Relationship Id="rId2" Type="http://schemas.openxmlformats.org/officeDocument/2006/relationships/tags" Target="../tags/tag233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7" Type="http://schemas.openxmlformats.org/officeDocument/2006/relationships/image" Target="../media/image20.png"/><Relationship Id="rId2" Type="http://schemas.openxmlformats.org/officeDocument/2006/relationships/tags" Target="../tags/tag235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2.xml"/><Relationship Id="rId7" Type="http://schemas.openxmlformats.org/officeDocument/2006/relationships/image" Target="../media/image9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7" Type="http://schemas.openxmlformats.org/officeDocument/2006/relationships/image" Target="../media/image20.png"/><Relationship Id="rId2" Type="http://schemas.openxmlformats.org/officeDocument/2006/relationships/tags" Target="../tags/tag237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7" Type="http://schemas.openxmlformats.org/officeDocument/2006/relationships/image" Target="../media/image20.png"/><Relationship Id="rId2" Type="http://schemas.openxmlformats.org/officeDocument/2006/relationships/tags" Target="../tags/tag23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7" Type="http://schemas.openxmlformats.org/officeDocument/2006/relationships/image" Target="../media/image3.emf"/><Relationship Id="rId2" Type="http://schemas.openxmlformats.org/officeDocument/2006/relationships/tags" Target="../tags/tag241.xml"/><Relationship Id="rId1" Type="http://schemas.openxmlformats.org/officeDocument/2006/relationships/vmlDrawing" Target="../drawings/vmlDrawing120.vml"/><Relationship Id="rId6" Type="http://schemas.openxmlformats.org/officeDocument/2006/relationships/oleObject" Target="../embeddings/oleObject120.bin"/><Relationship Id="rId5" Type="http://schemas.openxmlformats.org/officeDocument/2006/relationships/image" Target="../media/image29.png"/><Relationship Id="rId4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20.png"/><Relationship Id="rId2" Type="http://schemas.openxmlformats.org/officeDocument/2006/relationships/tags" Target="../tags/tag243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7" Type="http://schemas.openxmlformats.org/officeDocument/2006/relationships/image" Target="../media/image20.png"/><Relationship Id="rId2" Type="http://schemas.openxmlformats.org/officeDocument/2006/relationships/tags" Target="../tags/tag245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7" Type="http://schemas.openxmlformats.org/officeDocument/2006/relationships/image" Target="../media/image20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image" Target="../media/image30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20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54.xml"/><Relationship Id="rId7" Type="http://schemas.openxmlformats.org/officeDocument/2006/relationships/image" Target="../media/image3.emf"/><Relationship Id="rId2" Type="http://schemas.openxmlformats.org/officeDocument/2006/relationships/tags" Target="../tags/tag253.xml"/><Relationship Id="rId1" Type="http://schemas.openxmlformats.org/officeDocument/2006/relationships/vmlDrawing" Target="../drawings/vmlDrawing126.vml"/><Relationship Id="rId6" Type="http://schemas.openxmlformats.org/officeDocument/2006/relationships/oleObject" Target="../embeddings/oleObject126.bin"/><Relationship Id="rId5" Type="http://schemas.openxmlformats.org/officeDocument/2006/relationships/image" Target="../media/image27.png"/><Relationship Id="rId4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image" Target="../media/image20.png"/><Relationship Id="rId2" Type="http://schemas.openxmlformats.org/officeDocument/2006/relationships/tags" Target="../tags/tag255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4.xml"/><Relationship Id="rId7" Type="http://schemas.openxmlformats.org/officeDocument/2006/relationships/image" Target="../media/image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7" Type="http://schemas.openxmlformats.org/officeDocument/2006/relationships/image" Target="../media/image20.png"/><Relationship Id="rId2" Type="http://schemas.openxmlformats.org/officeDocument/2006/relationships/tags" Target="../tags/tag257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20.png"/><Relationship Id="rId2" Type="http://schemas.openxmlformats.org/officeDocument/2006/relationships/tags" Target="../tags/tag25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262.xml"/><Relationship Id="rId7" Type="http://schemas.openxmlformats.org/officeDocument/2006/relationships/image" Target="../media/image31.png"/><Relationship Id="rId2" Type="http://schemas.openxmlformats.org/officeDocument/2006/relationships/tags" Target="../tags/tag261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264.xml"/><Relationship Id="rId7" Type="http://schemas.openxmlformats.org/officeDocument/2006/relationships/image" Target="../media/image3.emf"/><Relationship Id="rId2" Type="http://schemas.openxmlformats.org/officeDocument/2006/relationships/tags" Target="../tags/tag263.xml"/><Relationship Id="rId1" Type="http://schemas.openxmlformats.org/officeDocument/2006/relationships/vmlDrawing" Target="../drawings/vmlDrawing131.vml"/><Relationship Id="rId6" Type="http://schemas.openxmlformats.org/officeDocument/2006/relationships/oleObject" Target="../embeddings/oleObject131.bin"/><Relationship Id="rId5" Type="http://schemas.openxmlformats.org/officeDocument/2006/relationships/image" Target="../media/image33.pn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2.png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68.xml"/><Relationship Id="rId7" Type="http://schemas.openxmlformats.org/officeDocument/2006/relationships/image" Target="../media/image9.png"/><Relationship Id="rId2" Type="http://schemas.openxmlformats.org/officeDocument/2006/relationships/tags" Target="../tags/tag267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70.xml"/><Relationship Id="rId7" Type="http://schemas.openxmlformats.org/officeDocument/2006/relationships/image" Target="../media/image9.png"/><Relationship Id="rId2" Type="http://schemas.openxmlformats.org/officeDocument/2006/relationships/tags" Target="../tags/tag269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72.xml"/><Relationship Id="rId7" Type="http://schemas.openxmlformats.org/officeDocument/2006/relationships/image" Target="../media/image9.png"/><Relationship Id="rId2" Type="http://schemas.openxmlformats.org/officeDocument/2006/relationships/tags" Target="../tags/tag271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74.xml"/><Relationship Id="rId7" Type="http://schemas.openxmlformats.org/officeDocument/2006/relationships/image" Target="../media/image9.png"/><Relationship Id="rId2" Type="http://schemas.openxmlformats.org/officeDocument/2006/relationships/tags" Target="../tags/tag273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76.xml"/><Relationship Id="rId7" Type="http://schemas.openxmlformats.org/officeDocument/2006/relationships/image" Target="../media/image9.png"/><Relationship Id="rId2" Type="http://schemas.openxmlformats.org/officeDocument/2006/relationships/tags" Target="../tags/tag275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78.xml"/><Relationship Id="rId7" Type="http://schemas.openxmlformats.org/officeDocument/2006/relationships/image" Target="../media/image9.png"/><Relationship Id="rId2" Type="http://schemas.openxmlformats.org/officeDocument/2006/relationships/tags" Target="../tags/tag277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8.bin"/><Relationship Id="rId4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6.xml"/><Relationship Id="rId7" Type="http://schemas.openxmlformats.org/officeDocument/2006/relationships/image" Target="../media/image9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80.xml"/><Relationship Id="rId7" Type="http://schemas.openxmlformats.org/officeDocument/2006/relationships/image" Target="../media/image9.png"/><Relationship Id="rId2" Type="http://schemas.openxmlformats.org/officeDocument/2006/relationships/tags" Target="../tags/tag27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7" Type="http://schemas.openxmlformats.org/officeDocument/2006/relationships/image" Target="../media/image4.png"/><Relationship Id="rId2" Type="http://schemas.openxmlformats.org/officeDocument/2006/relationships/tags" Target="../tags/tag281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284.xml"/><Relationship Id="rId7" Type="http://schemas.openxmlformats.org/officeDocument/2006/relationships/image" Target="../media/image4.png"/><Relationship Id="rId2" Type="http://schemas.openxmlformats.org/officeDocument/2006/relationships/tags" Target="../tags/tag283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86.xml"/><Relationship Id="rId7" Type="http://schemas.openxmlformats.org/officeDocument/2006/relationships/image" Target="../media/image3.emf"/><Relationship Id="rId2" Type="http://schemas.openxmlformats.org/officeDocument/2006/relationships/tags" Target="../tags/tag285.xml"/><Relationship Id="rId1" Type="http://schemas.openxmlformats.org/officeDocument/2006/relationships/vmlDrawing" Target="../drawings/vmlDrawing142.vml"/><Relationship Id="rId6" Type="http://schemas.openxmlformats.org/officeDocument/2006/relationships/oleObject" Target="../embeddings/oleObject142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7" Type="http://schemas.openxmlformats.org/officeDocument/2006/relationships/image" Target="../media/image4.png"/><Relationship Id="rId2" Type="http://schemas.openxmlformats.org/officeDocument/2006/relationships/tags" Target="../tags/tag287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7" Type="http://schemas.openxmlformats.org/officeDocument/2006/relationships/image" Target="../media/image4.png"/><Relationship Id="rId2" Type="http://schemas.openxmlformats.org/officeDocument/2006/relationships/tags" Target="../tags/tag289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7" Type="http://schemas.openxmlformats.org/officeDocument/2006/relationships/image" Target="../media/image4.png"/><Relationship Id="rId2" Type="http://schemas.openxmlformats.org/officeDocument/2006/relationships/tags" Target="../tags/tag291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7" Type="http://schemas.openxmlformats.org/officeDocument/2006/relationships/image" Target="../media/image4.png"/><Relationship Id="rId2" Type="http://schemas.openxmlformats.org/officeDocument/2006/relationships/tags" Target="../tags/tag293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7" Type="http://schemas.openxmlformats.org/officeDocument/2006/relationships/image" Target="../media/image4.png"/><Relationship Id="rId2" Type="http://schemas.openxmlformats.org/officeDocument/2006/relationships/tags" Target="../tags/tag295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7" Type="http://schemas.openxmlformats.org/officeDocument/2006/relationships/image" Target="../media/image4.png"/><Relationship Id="rId2" Type="http://schemas.openxmlformats.org/officeDocument/2006/relationships/tags" Target="../tags/tag297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4.png"/><Relationship Id="rId2" Type="http://schemas.openxmlformats.org/officeDocument/2006/relationships/tags" Target="../tags/tag29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7" Type="http://schemas.openxmlformats.org/officeDocument/2006/relationships/image" Target="../media/image3.emf"/><Relationship Id="rId2" Type="http://schemas.openxmlformats.org/officeDocument/2006/relationships/tags" Target="../tags/tag301.xml"/><Relationship Id="rId1" Type="http://schemas.openxmlformats.org/officeDocument/2006/relationships/vmlDrawing" Target="../drawings/vmlDrawing150.vml"/><Relationship Id="rId6" Type="http://schemas.openxmlformats.org/officeDocument/2006/relationships/oleObject" Target="../embeddings/oleObject150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7" Type="http://schemas.openxmlformats.org/officeDocument/2006/relationships/image" Target="../media/image4.png"/><Relationship Id="rId2" Type="http://schemas.openxmlformats.org/officeDocument/2006/relationships/tags" Target="../tags/tag303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1.bin"/><Relationship Id="rId4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7" Type="http://schemas.openxmlformats.org/officeDocument/2006/relationships/image" Target="../media/image4.png"/><Relationship Id="rId2" Type="http://schemas.openxmlformats.org/officeDocument/2006/relationships/tags" Target="../tags/tag305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7" Type="http://schemas.openxmlformats.org/officeDocument/2006/relationships/image" Target="../media/image4.png"/><Relationship Id="rId2" Type="http://schemas.openxmlformats.org/officeDocument/2006/relationships/tags" Target="../tags/tag307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7" Type="http://schemas.openxmlformats.org/officeDocument/2006/relationships/image" Target="../media/image15.png"/><Relationship Id="rId2" Type="http://schemas.openxmlformats.org/officeDocument/2006/relationships/tags" Target="../tags/tag309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7" Type="http://schemas.openxmlformats.org/officeDocument/2006/relationships/image" Target="../media/image4.png"/><Relationship Id="rId2" Type="http://schemas.openxmlformats.org/officeDocument/2006/relationships/tags" Target="../tags/tag311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5.bin"/><Relationship Id="rId4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7" Type="http://schemas.openxmlformats.org/officeDocument/2006/relationships/image" Target="../media/image4.png"/><Relationship Id="rId2" Type="http://schemas.openxmlformats.org/officeDocument/2006/relationships/tags" Target="../tags/tag313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316.xml"/><Relationship Id="rId7" Type="http://schemas.openxmlformats.org/officeDocument/2006/relationships/image" Target="../media/image4.png"/><Relationship Id="rId2" Type="http://schemas.openxmlformats.org/officeDocument/2006/relationships/tags" Target="../tags/tag315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7" Type="http://schemas.openxmlformats.org/officeDocument/2006/relationships/image" Target="../media/image4.png"/><Relationship Id="rId2" Type="http://schemas.openxmlformats.org/officeDocument/2006/relationships/tags" Target="../tags/tag317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image" Target="../media/image4.png"/><Relationship Id="rId2" Type="http://schemas.openxmlformats.org/officeDocument/2006/relationships/tags" Target="../tags/tag31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22.xml"/><Relationship Id="rId7" Type="http://schemas.openxmlformats.org/officeDocument/2006/relationships/image" Target="../media/image10.png"/><Relationship Id="rId2" Type="http://schemas.openxmlformats.org/officeDocument/2006/relationships/tags" Target="../tags/tag321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24.xml"/><Relationship Id="rId7" Type="http://schemas.openxmlformats.org/officeDocument/2006/relationships/image" Target="../media/image16.png"/><Relationship Id="rId2" Type="http://schemas.openxmlformats.org/officeDocument/2006/relationships/tags" Target="../tags/tag323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2.xml"/><Relationship Id="rId7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4.bin"/><Relationship Id="rId4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4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5.bin"/><Relationship Id="rId4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gif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8.png"/><Relationship Id="rId2" Type="http://schemas.openxmlformats.org/officeDocument/2006/relationships/tags" Target="../tags/tag335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37.jpeg"/><Relationship Id="rId5" Type="http://schemas.openxmlformats.org/officeDocument/2006/relationships/image" Target="../media/image36.emf"/><Relationship Id="rId10" Type="http://schemas.openxmlformats.org/officeDocument/2006/relationships/image" Target="../media/image41.png"/><Relationship Id="rId4" Type="http://schemas.openxmlformats.org/officeDocument/2006/relationships/oleObject" Target="../embeddings/oleObject167.bin"/><Relationship Id="rId9" Type="http://schemas.openxmlformats.org/officeDocument/2006/relationships/image" Target="../media/image40.png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337.xml"/><Relationship Id="rId7" Type="http://schemas.openxmlformats.org/officeDocument/2006/relationships/image" Target="../media/image42.emf"/><Relationship Id="rId2" Type="http://schemas.openxmlformats.org/officeDocument/2006/relationships/tags" Target="../tags/tag336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168.bin"/><Relationship Id="rId4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7" Type="http://schemas.openxmlformats.org/officeDocument/2006/relationships/image" Target="../media/image44.png"/><Relationship Id="rId2" Type="http://schemas.openxmlformats.org/officeDocument/2006/relationships/tags" Target="../tags/tag338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9.bin"/><Relationship Id="rId4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4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1.bin"/><Relationship Id="rId4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2" Type="http://schemas.openxmlformats.org/officeDocument/2006/relationships/tags" Target="../tags/tag344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3.bin"/><Relationship Id="rId4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4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gi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8.png"/><Relationship Id="rId2" Type="http://schemas.openxmlformats.org/officeDocument/2006/relationships/tags" Target="../tags/tag348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37.jpeg"/><Relationship Id="rId5" Type="http://schemas.openxmlformats.org/officeDocument/2006/relationships/image" Target="../media/image36.emf"/><Relationship Id="rId10" Type="http://schemas.openxmlformats.org/officeDocument/2006/relationships/image" Target="../media/image41.png"/><Relationship Id="rId4" Type="http://schemas.openxmlformats.org/officeDocument/2006/relationships/oleObject" Target="../embeddings/oleObject174.bin"/><Relationship Id="rId9" Type="http://schemas.openxmlformats.org/officeDocument/2006/relationships/image" Target="../media/image40.png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350.xml"/><Relationship Id="rId7" Type="http://schemas.openxmlformats.org/officeDocument/2006/relationships/image" Target="../media/image42.emf"/><Relationship Id="rId2" Type="http://schemas.openxmlformats.org/officeDocument/2006/relationships/tags" Target="../tags/tag349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175.bin"/><Relationship Id="rId4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tags" Target="../tags/tag352.xml"/><Relationship Id="rId7" Type="http://schemas.openxmlformats.org/officeDocument/2006/relationships/image" Target="../media/image44.png"/><Relationship Id="rId2" Type="http://schemas.openxmlformats.org/officeDocument/2006/relationships/tags" Target="../tags/tag351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6.bin"/><Relationship Id="rId4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4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3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4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4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4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15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4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4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4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4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8.xml"/><Relationship Id="rId7" Type="http://schemas.openxmlformats.org/officeDocument/2006/relationships/image" Target="../media/image10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0.xml"/><Relationship Id="rId7" Type="http://schemas.openxmlformats.org/officeDocument/2006/relationships/image" Target="../media/image16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7.emf"/><Relationship Id="rId2" Type="http://schemas.openxmlformats.org/officeDocument/2006/relationships/tags" Target="../tags/tag7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0.xml"/><Relationship Id="rId7" Type="http://schemas.openxmlformats.org/officeDocument/2006/relationships/image" Target="../media/image3.emf"/><Relationship Id="rId2" Type="http://schemas.openxmlformats.org/officeDocument/2006/relationships/tags" Target="../tags/tag79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2.xml"/><Relationship Id="rId7" Type="http://schemas.openxmlformats.org/officeDocument/2006/relationships/image" Target="../media/image3.emf"/><Relationship Id="rId2" Type="http://schemas.openxmlformats.org/officeDocument/2006/relationships/tags" Target="../tags/tag81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4.xml"/><Relationship Id="rId7" Type="http://schemas.openxmlformats.org/officeDocument/2006/relationships/image" Target="../media/image3.emf"/><Relationship Id="rId2" Type="http://schemas.openxmlformats.org/officeDocument/2006/relationships/tags" Target="../tags/tag83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2.pn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6.xml"/><Relationship Id="rId7" Type="http://schemas.openxmlformats.org/officeDocument/2006/relationships/image" Target="../media/image3.emf"/><Relationship Id="rId2" Type="http://schemas.openxmlformats.org/officeDocument/2006/relationships/tags" Target="../tags/tag85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0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8.xml"/><Relationship Id="rId7" Type="http://schemas.openxmlformats.org/officeDocument/2006/relationships/image" Target="../media/image3.emf"/><Relationship Id="rId2" Type="http://schemas.openxmlformats.org/officeDocument/2006/relationships/tags" Target="../tags/tag87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0.xml"/><Relationship Id="rId7" Type="http://schemas.openxmlformats.org/officeDocument/2006/relationships/image" Target="../media/image3.emf"/><Relationship Id="rId2" Type="http://schemas.openxmlformats.org/officeDocument/2006/relationships/tags" Target="../tags/tag89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2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2.xml"/><Relationship Id="rId7" Type="http://schemas.openxmlformats.org/officeDocument/2006/relationships/image" Target="../media/image3.emf"/><Relationship Id="rId2" Type="http://schemas.openxmlformats.org/officeDocument/2006/relationships/tags" Target="../tags/tag91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3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4.xml"/><Relationship Id="rId7" Type="http://schemas.openxmlformats.org/officeDocument/2006/relationships/image" Target="../media/image3.emf"/><Relationship Id="rId2" Type="http://schemas.openxmlformats.org/officeDocument/2006/relationships/tags" Target="../tags/tag93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6.xml"/><Relationship Id="rId7" Type="http://schemas.openxmlformats.org/officeDocument/2006/relationships/image" Target="../media/image3.emf"/><Relationship Id="rId2" Type="http://schemas.openxmlformats.org/officeDocument/2006/relationships/tags" Target="../tags/tag95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8.xml"/><Relationship Id="rId7" Type="http://schemas.openxmlformats.org/officeDocument/2006/relationships/oleObject" Target="../embeddings/oleObject48.bin"/><Relationship Id="rId2" Type="http://schemas.openxmlformats.org/officeDocument/2006/relationships/tags" Target="../tags/tag97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jpeg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0.xml"/><Relationship Id="rId7" Type="http://schemas.openxmlformats.org/officeDocument/2006/relationships/image" Target="../media/image3.emf"/><Relationship Id="rId2" Type="http://schemas.openxmlformats.org/officeDocument/2006/relationships/tags" Target="../tags/tag99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2.xml"/><Relationship Id="rId7" Type="http://schemas.openxmlformats.org/officeDocument/2006/relationships/image" Target="../media/image3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4.xml"/><Relationship Id="rId7" Type="http://schemas.openxmlformats.org/officeDocument/2006/relationships/image" Target="../media/image3.emf"/><Relationship Id="rId2" Type="http://schemas.openxmlformats.org/officeDocument/2006/relationships/tags" Target="../tags/tag103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6.xml"/><Relationship Id="rId7" Type="http://schemas.openxmlformats.org/officeDocument/2006/relationships/image" Target="../media/image3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8.xml"/><Relationship Id="rId7" Type="http://schemas.openxmlformats.org/officeDocument/2006/relationships/image" Target="../media/image3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0.xml"/><Relationship Id="rId7" Type="http://schemas.openxmlformats.org/officeDocument/2006/relationships/image" Target="../media/image3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2.xml"/><Relationship Id="rId7" Type="http://schemas.openxmlformats.org/officeDocument/2006/relationships/image" Target="../media/image3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4.xml"/><Relationship Id="rId7" Type="http://schemas.openxmlformats.org/officeDocument/2006/relationships/oleObject" Target="../embeddings/oleObject56.bin"/><Relationship Id="rId2" Type="http://schemas.openxmlformats.org/officeDocument/2006/relationships/tags" Target="../tags/tag113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4.png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6.xml"/><Relationship Id="rId7" Type="http://schemas.openxmlformats.org/officeDocument/2006/relationships/image" Target="../media/image3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8.xml"/><Relationship Id="rId7" Type="http://schemas.openxmlformats.org/officeDocument/2006/relationships/image" Target="../media/image3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0.xml"/><Relationship Id="rId7" Type="http://schemas.openxmlformats.org/officeDocument/2006/relationships/image" Target="../media/image3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22.xml"/><Relationship Id="rId7" Type="http://schemas.openxmlformats.org/officeDocument/2006/relationships/image" Target="../media/image3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4.xml"/><Relationship Id="rId7" Type="http://schemas.openxmlformats.org/officeDocument/2006/relationships/image" Target="../media/image3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6.xml"/><Relationship Id="rId7" Type="http://schemas.openxmlformats.org/officeDocument/2006/relationships/image" Target="../media/image3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8.xml"/><Relationship Id="rId7" Type="http://schemas.openxmlformats.org/officeDocument/2006/relationships/image" Target="../media/image3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0.xml"/><Relationship Id="rId7" Type="http://schemas.openxmlformats.org/officeDocument/2006/relationships/image" Target="../media/image3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2.xml"/><Relationship Id="rId7" Type="http://schemas.openxmlformats.org/officeDocument/2006/relationships/image" Target="../media/image3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65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34.xml"/><Relationship Id="rId7" Type="http://schemas.openxmlformats.org/officeDocument/2006/relationships/image" Target="../media/image3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9.pn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36.xml"/><Relationship Id="rId7" Type="http://schemas.openxmlformats.org/officeDocument/2006/relationships/image" Target="../media/image3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9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3.emf"/><Relationship Id="rId2" Type="http://schemas.openxmlformats.org/officeDocument/2006/relationships/tags" Target="../tags/tag137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40.xml"/><Relationship Id="rId7" Type="http://schemas.openxmlformats.org/officeDocument/2006/relationships/image" Target="../media/image3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3.emf"/><Relationship Id="rId2" Type="http://schemas.openxmlformats.org/officeDocument/2006/relationships/tags" Target="../tags/tag141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70.bin"/><Relationship Id="rId5" Type="http://schemas.openxmlformats.org/officeDocument/2006/relationships/image" Target="../media/image18.jpg"/><Relationship Id="rId4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46.xml"/><Relationship Id="rId7" Type="http://schemas.openxmlformats.org/officeDocument/2006/relationships/image" Target="../media/image9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48.xml"/><Relationship Id="rId7" Type="http://schemas.openxmlformats.org/officeDocument/2006/relationships/image" Target="../media/image9.png"/><Relationship Id="rId2" Type="http://schemas.openxmlformats.org/officeDocument/2006/relationships/tags" Target="../tags/tag147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50.xml"/><Relationship Id="rId7" Type="http://schemas.openxmlformats.org/officeDocument/2006/relationships/image" Target="../media/image9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2.xml"/><Relationship Id="rId7" Type="http://schemas.openxmlformats.org/officeDocument/2006/relationships/image" Target="../media/image9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54.xml"/><Relationship Id="rId7" Type="http://schemas.openxmlformats.org/officeDocument/2006/relationships/image" Target="../media/image9.png"/><Relationship Id="rId2" Type="http://schemas.openxmlformats.org/officeDocument/2006/relationships/tags" Target="../tags/tag153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56.xml"/><Relationship Id="rId7" Type="http://schemas.openxmlformats.org/officeDocument/2006/relationships/image" Target="../media/image9.png"/><Relationship Id="rId2" Type="http://schemas.openxmlformats.org/officeDocument/2006/relationships/tags" Target="../tags/tag155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58.xml"/><Relationship Id="rId7" Type="http://schemas.openxmlformats.org/officeDocument/2006/relationships/image" Target="../media/image9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image" Target="../media/image4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4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image" Target="../media/image4.png"/><Relationship Id="rId2" Type="http://schemas.openxmlformats.org/officeDocument/2006/relationships/tags" Target="../tags/tag16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64.xml"/><Relationship Id="rId7" Type="http://schemas.openxmlformats.org/officeDocument/2006/relationships/image" Target="../media/image3.emf"/><Relationship Id="rId2" Type="http://schemas.openxmlformats.org/officeDocument/2006/relationships/tags" Target="../tags/tag163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1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image" Target="../media/image4.png"/><Relationship Id="rId2" Type="http://schemas.openxmlformats.org/officeDocument/2006/relationships/tags" Target="../tags/tag165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image" Target="../media/image4.png"/><Relationship Id="rId2" Type="http://schemas.openxmlformats.org/officeDocument/2006/relationships/tags" Target="../tags/tag167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image" Target="../media/image4.png"/><Relationship Id="rId2" Type="http://schemas.openxmlformats.org/officeDocument/2006/relationships/tags" Target="../tags/tag169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4.png"/><Relationship Id="rId2" Type="http://schemas.openxmlformats.org/officeDocument/2006/relationships/tags" Target="../tags/tag171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image" Target="../media/image4.png"/><Relationship Id="rId2" Type="http://schemas.openxmlformats.org/officeDocument/2006/relationships/tags" Target="../tags/tag17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4.png"/><Relationship Id="rId2" Type="http://schemas.openxmlformats.org/officeDocument/2006/relationships/tags" Target="../tags/tag175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7" Type="http://schemas.openxmlformats.org/officeDocument/2006/relationships/image" Target="../media/image4.png"/><Relationship Id="rId2" Type="http://schemas.openxmlformats.org/officeDocument/2006/relationships/tags" Target="../tags/tag177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7" Type="http://schemas.openxmlformats.org/officeDocument/2006/relationships/image" Target="../media/image3.emf"/><Relationship Id="rId2" Type="http://schemas.openxmlformats.org/officeDocument/2006/relationships/tags" Target="../tags/tag179.xm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89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6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4.png"/><Relationship Id="rId2" Type="http://schemas.openxmlformats.org/officeDocument/2006/relationships/tags" Target="../tags/tag18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image" Target="../media/image4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image" Target="../media/image4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15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4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4.png"/><Relationship Id="rId2" Type="http://schemas.openxmlformats.org/officeDocument/2006/relationships/tags" Target="../tags/tag191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4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4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4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00.xml"/><Relationship Id="rId7" Type="http://schemas.openxmlformats.org/officeDocument/2006/relationships/image" Target="../media/image10.png"/><Relationship Id="rId2" Type="http://schemas.openxmlformats.org/officeDocument/2006/relationships/tags" Target="../tags/tag1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2000" cy="6864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33"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333333"/>
          </a:solidFill>
        </p:spPr>
        <p:txBody>
          <a:bodyPr lIns="324000" tIns="576000"/>
          <a:lstStyle>
            <a:lvl1pPr>
              <a:defRPr sz="1333"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6418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: picture, gradient botto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02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1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6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2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1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56923"/>
            <a:ext cx="2167467" cy="942983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9100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42AC75-A447-4E8C-B99C-6C477755B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1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F42AC75-A447-4E8C-B99C-6C477755B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944A76-E2DD-4233-8385-429CBA29F34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5598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52000" y="1625276"/>
            <a:ext cx="11088000" cy="72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7331"/>
              </a:lnSpc>
              <a:defRPr sz="4798" cap="all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2177" y="301792"/>
            <a:ext cx="1380227" cy="585217"/>
          </a:xfrm>
          <a:prstGeom prst="rect">
            <a:avLst/>
          </a:prstGeom>
        </p:spPr>
      </p:pic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180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4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BB83D58E-2479-4EB7-9A4B-0AE6BB0146F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5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3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7" y="6192000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44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0" y="3"/>
            <a:ext cx="1203856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4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59022701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70426"/>
            <a:ext cx="5951547" cy="658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Logistics Trend Radar 5th Edition Overview | DHL Trend Research | August 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76112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E8B2E4A5-D098-EE49-85AC-2DEC8960BD0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72" y="2"/>
            <a:ext cx="5135033" cy="6863999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3"/>
            <a:ext cx="5409240" cy="658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HL SmartSensor IoT | December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hteck 5">
            <a:extLst>
              <a:ext uri="{FF2B5EF4-FFF2-40B4-BE49-F238E27FC236}">
                <a16:creationId xmlns:a16="http://schemas.microsoft.com/office/drawing/2014/main" id="{1119C61A-6AB2-1B48-935B-4C01589FC9AC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882" tIns="191882" rIns="191882" bIns="191882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628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6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E9283F44-E2D7-A948-AD4D-D12CC86B48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9" y="301793"/>
            <a:ext cx="1373607" cy="590192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72634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ngage IoT Track | November 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70426"/>
            <a:ext cx="9298595" cy="658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77416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18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j-ea"/>
              <a:cs typeface="+mj-cs"/>
              <a:sym typeface="Delivery Cd Black" panose="020F0906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1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6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2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1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56923"/>
            <a:ext cx="2167467" cy="942983"/>
          </a:xfr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9576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: picture, gradient bottom_b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1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j-ea"/>
              <a:cs typeface="+mj-cs"/>
              <a:sym typeface="Delivery Cd Black" panose="020F0906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1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6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2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1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56923"/>
            <a:ext cx="2167467" cy="942983"/>
          </a:xfr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79525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: picture, gradient botto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2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j-ea"/>
              <a:cs typeface="+mj-cs"/>
              <a:sym typeface="Delivery Cd Black" panose="020F0906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1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6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2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1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56923"/>
            <a:ext cx="2167467" cy="942983"/>
          </a:xfr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79634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26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n-ea"/>
              <a:cs typeface="+mn-cs"/>
              <a:sym typeface="Delivery Cd Black" panose="020F0906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0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7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6221636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8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7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72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474398"/>
            <a:ext cx="2167467" cy="942983"/>
          </a:xfr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24285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: picture, gradient top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28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n-ea"/>
              <a:cs typeface="+mn-cs"/>
              <a:sym typeface="Delivery Cd Black" panose="020F0906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0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7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6221636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2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2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67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474398"/>
            <a:ext cx="2167467" cy="942983"/>
          </a:xfr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00052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0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7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6221636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8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7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72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474398"/>
            <a:ext cx="2167467" cy="942983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1180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: picture, gradient top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n-ea"/>
              <a:cs typeface="+mn-cs"/>
              <a:sym typeface="Delivery Cd Black" panose="020F0906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0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7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6221636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4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3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68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474398"/>
            <a:ext cx="2167467" cy="942983"/>
          </a:xfr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73815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full page gradient"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6880BCD6-BA57-714A-95D5-9406F5D58467}"/>
              </a:ext>
            </a:extLst>
          </p:cNvPr>
          <p:cNvSpPr/>
          <p:nvPr userDrawn="1"/>
        </p:nvSpPr>
        <p:spPr bwMode="auto">
          <a:xfrm>
            <a:off x="4126879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rgbClr val="FCFDFF">
              <a:alpha val="39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1FB9862-0C1D-45A6-A6B7-0760D2A1F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3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1FB9862-0C1D-45A6-A6B7-0760D2A1F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696725A-3087-40C6-B421-B44ECAD0F54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n-ea"/>
              <a:cs typeface="+mn-cs"/>
              <a:sym typeface="Delivery Cd Black" panose="020F0906020204020204" pitchFamily="34" charset="0"/>
            </a:endParaRPr>
          </a:p>
        </p:txBody>
      </p:sp>
      <p:sp>
        <p:nvSpPr>
          <p:cNvPr id="6" name="Titel 9"/>
          <p:cNvSpPr>
            <a:spLocks noGrp="1"/>
          </p:cNvSpPr>
          <p:nvPr>
            <p:ph type="title"/>
          </p:nvPr>
        </p:nvSpPr>
        <p:spPr>
          <a:xfrm>
            <a:off x="552000" y="1097113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0" y="1"/>
            <a:ext cx="1203856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 smtClean="0"/>
              <a:t>For internal use</a:t>
            </a:r>
            <a:endParaRPr lang="en-US" dirty="0"/>
          </a:p>
        </p:txBody>
      </p:sp>
      <p:sp>
        <p:nvSpPr>
          <p:cNvPr id="7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945113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593113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158259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5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6246" y="567177"/>
            <a:ext cx="2185359" cy="92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371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94A1383F-867E-924C-8246-3F93180A6EA9}"/>
              </a:ext>
            </a:extLst>
          </p:cNvPr>
          <p:cNvSpPr/>
          <p:nvPr userDrawn="1"/>
        </p:nvSpPr>
        <p:spPr bwMode="auto">
          <a:xfrm>
            <a:off x="5152555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rgbClr val="FCFDFF">
              <a:alpha val="39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BE897C5-97FD-42EE-AF0E-5D267D6927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35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BE897C5-97FD-42EE-AF0E-5D267D692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366C51F-FF2C-4BE0-8ABD-7B377C1CED8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j-ea"/>
              <a:cs typeface="+mj-cs"/>
              <a:sym typeface="Delivery Cd Black" panose="020F0906020204020204" pitchFamily="34" charset="0"/>
            </a:endParaRPr>
          </a:p>
        </p:txBody>
      </p:sp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52000" y="1656552"/>
            <a:ext cx="8208000" cy="1800000"/>
          </a:xfrm>
        </p:spPr>
        <p:txBody>
          <a:bodyPr anchor="t"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624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DEC7B846-1E1C-BD4C-9770-2A24AA6C53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38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n-ea"/>
              <a:cs typeface="+mn-cs"/>
              <a:sym typeface="Delivery Cd Black" panose="020F0906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2" y="6488334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1652691"/>
            <a:ext cx="5428672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006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chevron and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9EC273E-BF66-5543-8816-4AFA3866EE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0954" y="-3"/>
            <a:ext cx="7491047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37B3641-3061-744A-86CE-5456DC67E5FE}"/>
              </a:ext>
            </a:extLst>
          </p:cNvPr>
          <p:cNvSpPr/>
          <p:nvPr userDrawn="1"/>
        </p:nvSpPr>
        <p:spPr bwMode="auto">
          <a:xfrm>
            <a:off x="-44553" y="0"/>
            <a:ext cx="4557287" cy="6858000"/>
          </a:xfrm>
          <a:prstGeom prst="rect">
            <a:avLst/>
          </a:pr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22A47439-E987-B248-9819-AFA001DDA0E1}"/>
              </a:ext>
            </a:extLst>
          </p:cNvPr>
          <p:cNvSpPr/>
          <p:nvPr userDrawn="1"/>
        </p:nvSpPr>
        <p:spPr bwMode="auto">
          <a:xfrm>
            <a:off x="3186658" y="0"/>
            <a:ext cx="5030567" cy="6858000"/>
          </a:xfrm>
          <a:custGeom>
            <a:avLst/>
            <a:gdLst>
              <a:gd name="connsiteX0" fmla="*/ 0 w 3834765"/>
              <a:gd name="connsiteY0" fmla="*/ 0 h 5166360"/>
              <a:gd name="connsiteX1" fmla="*/ 0 w 3834765"/>
              <a:gd name="connsiteY1" fmla="*/ 5166360 h 5166360"/>
              <a:gd name="connsiteX2" fmla="*/ 680085 w 3834765"/>
              <a:gd name="connsiteY2" fmla="*/ 5166360 h 5166360"/>
              <a:gd name="connsiteX3" fmla="*/ 1737360 w 3834765"/>
              <a:gd name="connsiteY3" fmla="*/ 5166360 h 5166360"/>
              <a:gd name="connsiteX4" fmla="*/ 3834765 w 3834765"/>
              <a:gd name="connsiteY4" fmla="*/ 2583180 h 5166360"/>
              <a:gd name="connsiteX5" fmla="*/ 1428750 w 3834765"/>
              <a:gd name="connsiteY5" fmla="*/ 0 h 5166360"/>
              <a:gd name="connsiteX6" fmla="*/ 0 w 3834765"/>
              <a:gd name="connsiteY6" fmla="*/ 0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34765" h="5166360">
                <a:moveTo>
                  <a:pt x="0" y="0"/>
                </a:moveTo>
                <a:lnTo>
                  <a:pt x="0" y="5166360"/>
                </a:lnTo>
                <a:lnTo>
                  <a:pt x="680085" y="5166360"/>
                </a:lnTo>
                <a:lnTo>
                  <a:pt x="1737360" y="5166360"/>
                </a:lnTo>
                <a:lnTo>
                  <a:pt x="3834765" y="2583180"/>
                </a:lnTo>
                <a:lnTo>
                  <a:pt x="1428750" y="0"/>
                </a:lnTo>
                <a:lnTo>
                  <a:pt x="0" y="0"/>
                </a:lnTo>
                <a:close/>
              </a:path>
            </a:pathLst>
          </a:cu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223DD813-ED9B-E34A-8364-EBAA3A6A489D}"/>
              </a:ext>
            </a:extLst>
          </p:cNvPr>
          <p:cNvSpPr/>
          <p:nvPr userDrawn="1"/>
        </p:nvSpPr>
        <p:spPr bwMode="auto">
          <a:xfrm>
            <a:off x="3235147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40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n-ea"/>
              <a:cs typeface="+mn-cs"/>
              <a:sym typeface="Delivery Cd Black" panose="020F0906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2" y="6488334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2485341"/>
            <a:ext cx="5664000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109B6C-5B73-5D4B-A35E-4E6CA144A4AB}"/>
              </a:ext>
            </a:extLst>
          </p:cNvPr>
          <p:cNvSpPr txBox="1"/>
          <p:nvPr userDrawn="1"/>
        </p:nvSpPr>
        <p:spPr>
          <a:xfrm>
            <a:off x="6776186" y="-250257"/>
            <a:ext cx="65" cy="2708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eaLnBrk="1">
              <a:lnSpc>
                <a:spcPct val="110000"/>
              </a:lnSpc>
              <a:spcAft>
                <a:spcPts val="667"/>
              </a:spcAft>
            </a:pPr>
            <a:endParaRPr lang="en-US" sz="1600" dirty="0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793E5C9C-E448-3946-B65B-BFB80DCBB2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93133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501245C-5B21-AD45-B0CB-164A2287E68F}"/>
              </a:ext>
            </a:extLst>
          </p:cNvPr>
          <p:cNvGrpSpPr/>
          <p:nvPr userDrawn="1"/>
        </p:nvGrpSpPr>
        <p:grpSpPr>
          <a:xfrm>
            <a:off x="6430109" y="2871507"/>
            <a:ext cx="5093676" cy="3991708"/>
            <a:chOff x="4822581" y="2171700"/>
            <a:chExt cx="3820257" cy="2993781"/>
          </a:xfrm>
          <a:solidFill>
            <a:srgbClr val="EBEBEB"/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646C9BE-6241-A943-AEE7-BB6211BDE8E2}"/>
                </a:ext>
              </a:extLst>
            </p:cNvPr>
            <p:cNvSpPr/>
            <p:nvPr userDrawn="1"/>
          </p:nvSpPr>
          <p:spPr bwMode="auto">
            <a:xfrm>
              <a:off x="4822581" y="2171700"/>
              <a:ext cx="2963007" cy="2993781"/>
            </a:xfrm>
            <a:custGeom>
              <a:avLst/>
              <a:gdLst>
                <a:gd name="connsiteX0" fmla="*/ 0 w 2963007"/>
                <a:gd name="connsiteY0" fmla="*/ 0 h 2993781"/>
                <a:gd name="connsiteX1" fmla="*/ 1279281 w 2963007"/>
                <a:gd name="connsiteY1" fmla="*/ 0 h 2993781"/>
                <a:gd name="connsiteX2" fmla="*/ 2963007 w 2963007"/>
                <a:gd name="connsiteY2" fmla="*/ 1859573 h 2993781"/>
                <a:gd name="connsiteX3" fmla="*/ 1947496 w 2963007"/>
                <a:gd name="connsiteY3" fmla="*/ 2993781 h 2993781"/>
                <a:gd name="connsiteX4" fmla="*/ 1494692 w 2963007"/>
                <a:gd name="connsiteY4" fmla="*/ 2993781 h 2993781"/>
                <a:gd name="connsiteX5" fmla="*/ 2523392 w 2963007"/>
                <a:gd name="connsiteY5" fmla="*/ 1859573 h 2993781"/>
                <a:gd name="connsiteX6" fmla="*/ 1156188 w 2963007"/>
                <a:gd name="connsiteY6" fmla="*/ 356088 h 2993781"/>
                <a:gd name="connsiteX7" fmla="*/ 751742 w 2963007"/>
                <a:gd name="connsiteY7" fmla="*/ 356088 h 2993781"/>
                <a:gd name="connsiteX8" fmla="*/ 2118946 w 2963007"/>
                <a:gd name="connsiteY8" fmla="*/ 1859573 h 2993781"/>
                <a:gd name="connsiteX9" fmla="*/ 1679331 w 2963007"/>
                <a:gd name="connsiteY9" fmla="*/ 1859573 h 2993781"/>
                <a:gd name="connsiteX10" fmla="*/ 0 w 2963007"/>
                <a:gd name="connsiteY10" fmla="*/ 0 h 299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63007" h="2993781">
                  <a:moveTo>
                    <a:pt x="0" y="0"/>
                  </a:moveTo>
                  <a:lnTo>
                    <a:pt x="1279281" y="0"/>
                  </a:lnTo>
                  <a:lnTo>
                    <a:pt x="2963007" y="1859573"/>
                  </a:lnTo>
                  <a:lnTo>
                    <a:pt x="1947496" y="2993781"/>
                  </a:lnTo>
                  <a:lnTo>
                    <a:pt x="1494692" y="2993781"/>
                  </a:lnTo>
                  <a:lnTo>
                    <a:pt x="2523392" y="1859573"/>
                  </a:lnTo>
                  <a:lnTo>
                    <a:pt x="1156188" y="356088"/>
                  </a:lnTo>
                  <a:lnTo>
                    <a:pt x="751742" y="356088"/>
                  </a:lnTo>
                  <a:lnTo>
                    <a:pt x="2118946" y="1859573"/>
                  </a:lnTo>
                  <a:lnTo>
                    <a:pt x="1679331" y="185957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43A9A42-F245-EB4D-BB1B-C4EED6F32F54}"/>
                </a:ext>
              </a:extLst>
            </p:cNvPr>
            <p:cNvSpPr/>
            <p:nvPr userDrawn="1"/>
          </p:nvSpPr>
          <p:spPr bwMode="auto">
            <a:xfrm>
              <a:off x="6994281" y="2690446"/>
              <a:ext cx="1648557" cy="2470639"/>
            </a:xfrm>
            <a:custGeom>
              <a:avLst/>
              <a:gdLst>
                <a:gd name="connsiteX0" fmla="*/ 0 w 1648557"/>
                <a:gd name="connsiteY0" fmla="*/ 0 h 2470639"/>
                <a:gd name="connsiteX1" fmla="*/ 422031 w 1648557"/>
                <a:gd name="connsiteY1" fmla="*/ 0 h 2470639"/>
                <a:gd name="connsiteX2" fmla="*/ 1648557 w 1648557"/>
                <a:gd name="connsiteY2" fmla="*/ 1349619 h 2470639"/>
                <a:gd name="connsiteX3" fmla="*/ 624254 w 1648557"/>
                <a:gd name="connsiteY3" fmla="*/ 2470639 h 2470639"/>
                <a:gd name="connsiteX4" fmla="*/ 184638 w 1648557"/>
                <a:gd name="connsiteY4" fmla="*/ 2470639 h 2470639"/>
                <a:gd name="connsiteX5" fmla="*/ 1200150 w 1648557"/>
                <a:gd name="connsiteY5" fmla="*/ 1345223 h 2470639"/>
                <a:gd name="connsiteX6" fmla="*/ 0 w 1648557"/>
                <a:gd name="connsiteY6" fmla="*/ 0 h 247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8557" h="2470639">
                  <a:moveTo>
                    <a:pt x="0" y="0"/>
                  </a:moveTo>
                  <a:lnTo>
                    <a:pt x="422031" y="0"/>
                  </a:lnTo>
                  <a:lnTo>
                    <a:pt x="1648557" y="1349619"/>
                  </a:lnTo>
                  <a:lnTo>
                    <a:pt x="624254" y="2470639"/>
                  </a:lnTo>
                  <a:lnTo>
                    <a:pt x="184638" y="2470639"/>
                  </a:lnTo>
                  <a:lnTo>
                    <a:pt x="1200150" y="13452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8B84C1-B965-470D-A97F-7C63518E6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42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8B84C1-B965-470D-A97F-7C63518E6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C822327-C4FB-4B8E-A218-AE296D626B6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6"/>
          </p:nvPr>
        </p:nvSpPr>
        <p:spPr bwMode="gray">
          <a:xfrm>
            <a:off x="552000" y="1458545"/>
            <a:ext cx="5400000" cy="4168155"/>
          </a:xfrm>
          <a:prstGeom prst="rect">
            <a:avLst/>
          </a:prstGeom>
        </p:spPr>
        <p:txBody>
          <a:bodyPr lIns="0" tIns="0" rIns="0" bIns="0"/>
          <a:lstStyle>
            <a:lvl1pPr marL="355591" marR="0" indent="-355591" algn="l" defTabSz="1219170" rtl="0" eaLnBrk="1" fontAlgn="auto" latinLnBrk="0" hangingPunct="1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6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591" marR="0" indent="0" algn="l" defTabSz="1219170" rtl="0" eaLnBrk="1" fontAlgn="auto" latinLnBrk="0" hangingPunct="1">
              <a:lnSpc>
                <a:spcPct val="100000"/>
              </a:lnSpc>
              <a:spcAft>
                <a:spcPts val="667"/>
              </a:spcAft>
              <a:buClrTx/>
              <a:buSzTx/>
              <a:buFontTx/>
              <a:buNone/>
              <a:tabLst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21" name="Textplatzhalter 18"/>
          <p:cNvSpPr>
            <a:spLocks noGrp="1"/>
          </p:cNvSpPr>
          <p:nvPr>
            <p:ph type="body" sz="quarter" idx="26"/>
          </p:nvPr>
        </p:nvSpPr>
        <p:spPr bwMode="gray">
          <a:xfrm>
            <a:off x="6244200" y="1458545"/>
            <a:ext cx="5400000" cy="4168155"/>
          </a:xfrm>
          <a:prstGeom prst="rect">
            <a:avLst/>
          </a:prstGeom>
        </p:spPr>
        <p:txBody>
          <a:bodyPr lIns="0" tIns="0" rIns="0" bIns="0"/>
          <a:lstStyle>
            <a:lvl1pPr marL="355591" marR="0" indent="-355591" algn="l" defTabSz="1219170" rtl="0" eaLnBrk="1" fontAlgn="auto" latinLnBrk="0" hangingPunct="1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6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591" marR="0" indent="0" algn="l" defTabSz="1219170" rtl="0" eaLnBrk="1" fontAlgn="auto" latinLnBrk="0" hangingPunct="1">
              <a:lnSpc>
                <a:spcPct val="100000"/>
              </a:lnSpc>
              <a:spcAft>
                <a:spcPts val="667"/>
              </a:spcAft>
              <a:buClrTx/>
              <a:buSzTx/>
              <a:buFontTx/>
              <a:buNone/>
              <a:tabLst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552000" y="254530"/>
            <a:ext cx="8526563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6" name="Rechteck 5">
            <a:extLst>
              <a:ext uri="{FF2B5EF4-FFF2-40B4-BE49-F238E27FC236}">
                <a16:creationId xmlns:a16="http://schemas.microsoft.com/office/drawing/2014/main" id="{85D99883-DB49-B94C-855F-11AE75ADD806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874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 28">
            <a:extLst>
              <a:ext uri="{FF2B5EF4-FFF2-40B4-BE49-F238E27FC236}">
                <a16:creationId xmlns:a16="http://schemas.microsoft.com/office/drawing/2014/main" id="{315D5F37-1833-9B44-919B-A0CD65E64165}"/>
              </a:ext>
            </a:extLst>
          </p:cNvPr>
          <p:cNvSpPr/>
          <p:nvPr userDrawn="1"/>
        </p:nvSpPr>
        <p:spPr bwMode="auto">
          <a:xfrm>
            <a:off x="4417167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rgbClr val="EBEBE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CC54D76-52BE-4958-8E9F-49D56CCD05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45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CC54D76-52BE-4958-8E9F-49D56CCD0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E67424-2D29-4257-A62A-2C0781F9F78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/>
          </p:nvPr>
        </p:nvSpPr>
        <p:spPr bwMode="gray">
          <a:xfrm>
            <a:off x="551999" y="1458545"/>
            <a:ext cx="5400000" cy="2678400"/>
          </a:xfrm>
          <a:prstGeom prst="rect">
            <a:avLst/>
          </a:prstGeom>
        </p:spPr>
        <p:txBody>
          <a:bodyPr lIns="0" tIns="0" rIns="0" bIns="0"/>
          <a:lstStyle>
            <a:lvl1pPr marL="355591" marR="0" indent="-355591" algn="l" defTabSz="1219170" rtl="0" eaLnBrk="1" fontAlgn="auto" latinLnBrk="0" hangingPunct="1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6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591" marR="0" indent="0" algn="l" defTabSz="1219170" rtl="0" eaLnBrk="1" fontAlgn="auto" latinLnBrk="0" hangingPunct="1">
              <a:lnSpc>
                <a:spcPct val="100000"/>
              </a:lnSpc>
              <a:spcAft>
                <a:spcPts val="667"/>
              </a:spcAft>
              <a:buClrTx/>
              <a:buSzTx/>
              <a:buFontTx/>
              <a:buNone/>
              <a:tabLst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514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40200" y="4186700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7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736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360200" y="4186700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7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958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80200" y="4186700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7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>
          <a:xfrm>
            <a:off x="552000" y="254530"/>
            <a:ext cx="8502696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33" name="Textfeld 32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0" name="Rechteck 5">
            <a:extLst>
              <a:ext uri="{FF2B5EF4-FFF2-40B4-BE49-F238E27FC236}">
                <a16:creationId xmlns:a16="http://schemas.microsoft.com/office/drawing/2014/main" id="{D734060B-2F4F-964D-A93A-15D61CC85C67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26182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5">
            <a:extLst>
              <a:ext uri="{FF2B5EF4-FFF2-40B4-BE49-F238E27FC236}">
                <a16:creationId xmlns:a16="http://schemas.microsoft.com/office/drawing/2014/main" id="{3A8B53D3-AE00-AB4C-A611-66E241EFAF24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4DA40443-069A-6C40-AF47-BBFA84E45673}"/>
              </a:ext>
            </a:extLst>
          </p:cNvPr>
          <p:cNvSpPr/>
          <p:nvPr userDrawn="1"/>
        </p:nvSpPr>
        <p:spPr bwMode="auto">
          <a:xfrm>
            <a:off x="4417167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rgbClr val="EBEBE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D32F061-BA4C-448E-AFE3-012A2685D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47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D32F061-BA4C-448E-AFE3-012A2685D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7D09EE9-17AE-4635-AFE3-E0D639ABB92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552000" y="254530"/>
            <a:ext cx="958090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552451" y="1458546"/>
            <a:ext cx="11091333" cy="43834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 marL="0" indent="0"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371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 26">
            <a:extLst>
              <a:ext uri="{FF2B5EF4-FFF2-40B4-BE49-F238E27FC236}">
                <a16:creationId xmlns:a16="http://schemas.microsoft.com/office/drawing/2014/main" id="{90FBFA31-029F-F149-9AD5-61BAE4B59F13}"/>
              </a:ext>
            </a:extLst>
          </p:cNvPr>
          <p:cNvSpPr/>
          <p:nvPr userDrawn="1"/>
        </p:nvSpPr>
        <p:spPr bwMode="auto">
          <a:xfrm>
            <a:off x="4417167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rgbClr val="EBEBE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03D961C-85E5-4817-A147-B2D8A18D64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0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03D961C-85E5-4817-A147-B2D8A18D64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D7D1918-7069-4B4E-A603-83084F5BC9B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552000" y="254530"/>
            <a:ext cx="945898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4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781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3A8B53D3-AE00-AB4C-A611-66E241EFAF24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2779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54">
          <p15:clr>
            <a:srgbClr val="FBAE40"/>
          </p15:clr>
        </p15:guide>
        <p15:guide id="2" pos="249">
          <p15:clr>
            <a:srgbClr val="FBAE40"/>
          </p15:clr>
        </p15:guide>
        <p15:guide id="3" pos="55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771CE047-CA54-B14A-A029-36A278922456}"/>
              </a:ext>
            </a:extLst>
          </p:cNvPr>
          <p:cNvGrpSpPr/>
          <p:nvPr userDrawn="1"/>
        </p:nvGrpSpPr>
        <p:grpSpPr>
          <a:xfrm>
            <a:off x="6430109" y="2871507"/>
            <a:ext cx="5093676" cy="3991708"/>
            <a:chOff x="4822581" y="2171700"/>
            <a:chExt cx="3820257" cy="2993781"/>
          </a:xfrm>
          <a:solidFill>
            <a:srgbClr val="EBEBEB"/>
          </a:solidFill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8DBB60CD-1389-6440-B3B2-08A2C5501456}"/>
                </a:ext>
              </a:extLst>
            </p:cNvPr>
            <p:cNvSpPr/>
            <p:nvPr userDrawn="1"/>
          </p:nvSpPr>
          <p:spPr bwMode="auto">
            <a:xfrm>
              <a:off x="4822581" y="2171700"/>
              <a:ext cx="2963007" cy="2993781"/>
            </a:xfrm>
            <a:custGeom>
              <a:avLst/>
              <a:gdLst>
                <a:gd name="connsiteX0" fmla="*/ 0 w 2963007"/>
                <a:gd name="connsiteY0" fmla="*/ 0 h 2993781"/>
                <a:gd name="connsiteX1" fmla="*/ 1279281 w 2963007"/>
                <a:gd name="connsiteY1" fmla="*/ 0 h 2993781"/>
                <a:gd name="connsiteX2" fmla="*/ 2963007 w 2963007"/>
                <a:gd name="connsiteY2" fmla="*/ 1859573 h 2993781"/>
                <a:gd name="connsiteX3" fmla="*/ 1947496 w 2963007"/>
                <a:gd name="connsiteY3" fmla="*/ 2993781 h 2993781"/>
                <a:gd name="connsiteX4" fmla="*/ 1494692 w 2963007"/>
                <a:gd name="connsiteY4" fmla="*/ 2993781 h 2993781"/>
                <a:gd name="connsiteX5" fmla="*/ 2523392 w 2963007"/>
                <a:gd name="connsiteY5" fmla="*/ 1859573 h 2993781"/>
                <a:gd name="connsiteX6" fmla="*/ 1156188 w 2963007"/>
                <a:gd name="connsiteY6" fmla="*/ 356088 h 2993781"/>
                <a:gd name="connsiteX7" fmla="*/ 751742 w 2963007"/>
                <a:gd name="connsiteY7" fmla="*/ 356088 h 2993781"/>
                <a:gd name="connsiteX8" fmla="*/ 2118946 w 2963007"/>
                <a:gd name="connsiteY8" fmla="*/ 1859573 h 2993781"/>
                <a:gd name="connsiteX9" fmla="*/ 1679331 w 2963007"/>
                <a:gd name="connsiteY9" fmla="*/ 1859573 h 2993781"/>
                <a:gd name="connsiteX10" fmla="*/ 0 w 2963007"/>
                <a:gd name="connsiteY10" fmla="*/ 0 h 299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63007" h="2993781">
                  <a:moveTo>
                    <a:pt x="0" y="0"/>
                  </a:moveTo>
                  <a:lnTo>
                    <a:pt x="1279281" y="0"/>
                  </a:lnTo>
                  <a:lnTo>
                    <a:pt x="2963007" y="1859573"/>
                  </a:lnTo>
                  <a:lnTo>
                    <a:pt x="1947496" y="2993781"/>
                  </a:lnTo>
                  <a:lnTo>
                    <a:pt x="1494692" y="2993781"/>
                  </a:lnTo>
                  <a:lnTo>
                    <a:pt x="2523392" y="1859573"/>
                  </a:lnTo>
                  <a:lnTo>
                    <a:pt x="1156188" y="356088"/>
                  </a:lnTo>
                  <a:lnTo>
                    <a:pt x="751742" y="356088"/>
                  </a:lnTo>
                  <a:lnTo>
                    <a:pt x="2118946" y="1859573"/>
                  </a:lnTo>
                  <a:lnTo>
                    <a:pt x="1679331" y="185957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BE0F91A-FA82-AB4D-9402-10C01118C2FF}"/>
                </a:ext>
              </a:extLst>
            </p:cNvPr>
            <p:cNvSpPr/>
            <p:nvPr userDrawn="1"/>
          </p:nvSpPr>
          <p:spPr bwMode="auto">
            <a:xfrm>
              <a:off x="6994281" y="2690446"/>
              <a:ext cx="1648557" cy="2470639"/>
            </a:xfrm>
            <a:custGeom>
              <a:avLst/>
              <a:gdLst>
                <a:gd name="connsiteX0" fmla="*/ 0 w 1648557"/>
                <a:gd name="connsiteY0" fmla="*/ 0 h 2470639"/>
                <a:gd name="connsiteX1" fmla="*/ 422031 w 1648557"/>
                <a:gd name="connsiteY1" fmla="*/ 0 h 2470639"/>
                <a:gd name="connsiteX2" fmla="*/ 1648557 w 1648557"/>
                <a:gd name="connsiteY2" fmla="*/ 1349619 h 2470639"/>
                <a:gd name="connsiteX3" fmla="*/ 624254 w 1648557"/>
                <a:gd name="connsiteY3" fmla="*/ 2470639 h 2470639"/>
                <a:gd name="connsiteX4" fmla="*/ 184638 w 1648557"/>
                <a:gd name="connsiteY4" fmla="*/ 2470639 h 2470639"/>
                <a:gd name="connsiteX5" fmla="*/ 1200150 w 1648557"/>
                <a:gd name="connsiteY5" fmla="*/ 1345223 h 2470639"/>
                <a:gd name="connsiteX6" fmla="*/ 0 w 1648557"/>
                <a:gd name="connsiteY6" fmla="*/ 0 h 247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8557" h="2470639">
                  <a:moveTo>
                    <a:pt x="0" y="0"/>
                  </a:moveTo>
                  <a:lnTo>
                    <a:pt x="422031" y="0"/>
                  </a:lnTo>
                  <a:lnTo>
                    <a:pt x="1648557" y="1349619"/>
                  </a:lnTo>
                  <a:lnTo>
                    <a:pt x="624254" y="2470639"/>
                  </a:lnTo>
                  <a:lnTo>
                    <a:pt x="184638" y="2470639"/>
                  </a:lnTo>
                  <a:lnTo>
                    <a:pt x="1200150" y="13452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074651-BF6A-4ED8-B928-F780E23F62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2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074651-BF6A-4ED8-B928-F780E23F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91F3376-AE03-45BE-BEA5-5C2ABCE342E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552000" y="254530"/>
            <a:ext cx="958090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9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6242051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24" name="Rechteck 5">
            <a:extLst>
              <a:ext uri="{FF2B5EF4-FFF2-40B4-BE49-F238E27FC236}">
                <a16:creationId xmlns:a16="http://schemas.microsoft.com/office/drawing/2014/main" id="{BFB12557-D5F4-1E46-B0CF-260101BFBE07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443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: picture, gradient top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0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7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6221636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2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2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67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474398"/>
            <a:ext cx="2167467" cy="942983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398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pictur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F63F2C25-FBA7-6F45-A163-8420BD932052}"/>
              </a:ext>
            </a:extLst>
          </p:cNvPr>
          <p:cNvGrpSpPr/>
          <p:nvPr userDrawn="1"/>
        </p:nvGrpSpPr>
        <p:grpSpPr>
          <a:xfrm>
            <a:off x="6430109" y="2871507"/>
            <a:ext cx="5093676" cy="3991708"/>
            <a:chOff x="4822581" y="2171700"/>
            <a:chExt cx="3820257" cy="2993781"/>
          </a:xfrm>
          <a:solidFill>
            <a:srgbClr val="EBEBEB"/>
          </a:solidFill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439A0D4E-2637-7C49-92E6-9BC32E102705}"/>
                </a:ext>
              </a:extLst>
            </p:cNvPr>
            <p:cNvSpPr/>
            <p:nvPr userDrawn="1"/>
          </p:nvSpPr>
          <p:spPr bwMode="auto">
            <a:xfrm>
              <a:off x="4822581" y="2171700"/>
              <a:ext cx="2963007" cy="2993781"/>
            </a:xfrm>
            <a:custGeom>
              <a:avLst/>
              <a:gdLst>
                <a:gd name="connsiteX0" fmla="*/ 0 w 2963007"/>
                <a:gd name="connsiteY0" fmla="*/ 0 h 2993781"/>
                <a:gd name="connsiteX1" fmla="*/ 1279281 w 2963007"/>
                <a:gd name="connsiteY1" fmla="*/ 0 h 2993781"/>
                <a:gd name="connsiteX2" fmla="*/ 2963007 w 2963007"/>
                <a:gd name="connsiteY2" fmla="*/ 1859573 h 2993781"/>
                <a:gd name="connsiteX3" fmla="*/ 1947496 w 2963007"/>
                <a:gd name="connsiteY3" fmla="*/ 2993781 h 2993781"/>
                <a:gd name="connsiteX4" fmla="*/ 1494692 w 2963007"/>
                <a:gd name="connsiteY4" fmla="*/ 2993781 h 2993781"/>
                <a:gd name="connsiteX5" fmla="*/ 2523392 w 2963007"/>
                <a:gd name="connsiteY5" fmla="*/ 1859573 h 2993781"/>
                <a:gd name="connsiteX6" fmla="*/ 1156188 w 2963007"/>
                <a:gd name="connsiteY6" fmla="*/ 356088 h 2993781"/>
                <a:gd name="connsiteX7" fmla="*/ 751742 w 2963007"/>
                <a:gd name="connsiteY7" fmla="*/ 356088 h 2993781"/>
                <a:gd name="connsiteX8" fmla="*/ 2118946 w 2963007"/>
                <a:gd name="connsiteY8" fmla="*/ 1859573 h 2993781"/>
                <a:gd name="connsiteX9" fmla="*/ 1679331 w 2963007"/>
                <a:gd name="connsiteY9" fmla="*/ 1859573 h 2993781"/>
                <a:gd name="connsiteX10" fmla="*/ 0 w 2963007"/>
                <a:gd name="connsiteY10" fmla="*/ 0 h 2993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63007" h="2993781">
                  <a:moveTo>
                    <a:pt x="0" y="0"/>
                  </a:moveTo>
                  <a:lnTo>
                    <a:pt x="1279281" y="0"/>
                  </a:lnTo>
                  <a:lnTo>
                    <a:pt x="2963007" y="1859573"/>
                  </a:lnTo>
                  <a:lnTo>
                    <a:pt x="1947496" y="2993781"/>
                  </a:lnTo>
                  <a:lnTo>
                    <a:pt x="1494692" y="2993781"/>
                  </a:lnTo>
                  <a:lnTo>
                    <a:pt x="2523392" y="1859573"/>
                  </a:lnTo>
                  <a:lnTo>
                    <a:pt x="1156188" y="356088"/>
                  </a:lnTo>
                  <a:lnTo>
                    <a:pt x="751742" y="356088"/>
                  </a:lnTo>
                  <a:lnTo>
                    <a:pt x="2118946" y="1859573"/>
                  </a:lnTo>
                  <a:lnTo>
                    <a:pt x="1679331" y="185957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41E22F68-9E61-7542-92B0-0A3A0818ED37}"/>
                </a:ext>
              </a:extLst>
            </p:cNvPr>
            <p:cNvSpPr/>
            <p:nvPr userDrawn="1"/>
          </p:nvSpPr>
          <p:spPr bwMode="auto">
            <a:xfrm>
              <a:off x="6994281" y="2690446"/>
              <a:ext cx="1648557" cy="2470639"/>
            </a:xfrm>
            <a:custGeom>
              <a:avLst/>
              <a:gdLst>
                <a:gd name="connsiteX0" fmla="*/ 0 w 1648557"/>
                <a:gd name="connsiteY0" fmla="*/ 0 h 2470639"/>
                <a:gd name="connsiteX1" fmla="*/ 422031 w 1648557"/>
                <a:gd name="connsiteY1" fmla="*/ 0 h 2470639"/>
                <a:gd name="connsiteX2" fmla="*/ 1648557 w 1648557"/>
                <a:gd name="connsiteY2" fmla="*/ 1349619 h 2470639"/>
                <a:gd name="connsiteX3" fmla="*/ 624254 w 1648557"/>
                <a:gd name="connsiteY3" fmla="*/ 2470639 h 2470639"/>
                <a:gd name="connsiteX4" fmla="*/ 184638 w 1648557"/>
                <a:gd name="connsiteY4" fmla="*/ 2470639 h 2470639"/>
                <a:gd name="connsiteX5" fmla="*/ 1200150 w 1648557"/>
                <a:gd name="connsiteY5" fmla="*/ 1345223 h 2470639"/>
                <a:gd name="connsiteX6" fmla="*/ 0 w 1648557"/>
                <a:gd name="connsiteY6" fmla="*/ 0 h 247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8557" h="2470639">
                  <a:moveTo>
                    <a:pt x="0" y="0"/>
                  </a:moveTo>
                  <a:lnTo>
                    <a:pt x="422031" y="0"/>
                  </a:lnTo>
                  <a:lnTo>
                    <a:pt x="1648557" y="1349619"/>
                  </a:lnTo>
                  <a:lnTo>
                    <a:pt x="624254" y="2470639"/>
                  </a:lnTo>
                  <a:lnTo>
                    <a:pt x="184638" y="2470639"/>
                  </a:lnTo>
                  <a:lnTo>
                    <a:pt x="1200150" y="13452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A0A2A26-BC8D-4642-82D5-CB7489ABE2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A0A2A26-BC8D-4642-82D5-CB7489ABE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DF84CFF-5E2D-4888-9AAB-7A51BB2E683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960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22124A0A-F575-40C4-BD79-2D1A0E93D6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ltGray">
          <a:xfrm>
            <a:off x="6242049" y="1458546"/>
            <a:ext cx="5400000" cy="439403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6D7758A1-F895-4BFD-ACEB-EE8374FBC4A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ltGray">
          <a:xfrm>
            <a:off x="552451" y="1458546"/>
            <a:ext cx="5400000" cy="439403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sp>
        <p:nvSpPr>
          <p:cNvPr id="11" name="Fußzeilenplatzhalter 33">
            <a:extLst>
              <a:ext uri="{FF2B5EF4-FFF2-40B4-BE49-F238E27FC236}">
                <a16:creationId xmlns:a16="http://schemas.microsoft.com/office/drawing/2014/main" id="{AA75FEA1-1BC7-4045-92F0-E1B9E12119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6C1C95DF-AFF3-1146-AC81-EFBEAAF1815E}"/>
              </a:ext>
            </a:extLst>
          </p:cNvPr>
          <p:cNvSpPr txBox="1"/>
          <p:nvPr userDrawn="1"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4" name="Rechteck 5">
            <a:extLst>
              <a:ext uri="{FF2B5EF4-FFF2-40B4-BE49-F238E27FC236}">
                <a16:creationId xmlns:a16="http://schemas.microsoft.com/office/drawing/2014/main" id="{348310D2-3AEB-CA4E-B9D3-95B821099874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61516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57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C7D316E7-59A8-F640-BD69-264A352B4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54882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vent: light image full screen_B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1C20BE7-4A3E-B44A-BE89-F16F541BA8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23" y="301792"/>
            <a:ext cx="1373607" cy="590192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59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0552281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vent: light image full screen_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2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26501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dark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64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A254E98-BA85-2B43-9A9F-BD9D132A092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69739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vent: dark image full scree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66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82520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vent: dark image full scree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69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C5EC62C3-8B17-8C4B-B121-0F2083AA55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15670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C78E6D24-0A76-5948-9013-AC31C85FA4BA}"/>
              </a:ext>
            </a:extLst>
          </p:cNvPr>
          <p:cNvSpPr/>
          <p:nvPr userDrawn="1"/>
        </p:nvSpPr>
        <p:spPr bwMode="auto">
          <a:xfrm>
            <a:off x="4417167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rgbClr val="EBEBE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42D98AA-714B-4563-8BBF-05617BF23D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71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42D98AA-714B-4563-8BBF-05617BF23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B9BC3D-7687-4754-8C48-0129DCDB8B5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j-ea"/>
              <a:cs typeface="+mj-cs"/>
              <a:sym typeface="Delivery Cd Black" panose="020F0906020204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 bwMode="hidden">
          <a:xfrm>
            <a:off x="552000" y="4739218"/>
            <a:ext cx="7008000" cy="160286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3200" cap="none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Fußzeilenplatzhalter 33">
            <a:extLst>
              <a:ext uri="{FF2B5EF4-FFF2-40B4-BE49-F238E27FC236}">
                <a16:creationId xmlns:a16="http://schemas.microsoft.com/office/drawing/2014/main" id="{F31937AF-5FB6-8C42-9CA1-014B87D358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DBF2570E-4CB6-6A45-8364-CC294C6B1B63}"/>
              </a:ext>
            </a:extLst>
          </p:cNvPr>
          <p:cNvSpPr txBox="1"/>
          <p:nvPr userDrawn="1"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7" name="Rechteck 5">
            <a:extLst>
              <a:ext uri="{FF2B5EF4-FFF2-40B4-BE49-F238E27FC236}">
                <a16:creationId xmlns:a16="http://schemas.microsoft.com/office/drawing/2014/main" id="{170F4D5D-60EE-A344-A164-FE56350E90AD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3913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r yellow"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>
            <a:extLst>
              <a:ext uri="{FF2B5EF4-FFF2-40B4-BE49-F238E27FC236}">
                <a16:creationId xmlns:a16="http://schemas.microsoft.com/office/drawing/2014/main" id="{67F2F327-DE81-9E4E-BBDB-1041D7E78C30}"/>
              </a:ext>
            </a:extLst>
          </p:cNvPr>
          <p:cNvSpPr/>
          <p:nvPr userDrawn="1"/>
        </p:nvSpPr>
        <p:spPr bwMode="auto">
          <a:xfrm>
            <a:off x="5152555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rgbClr val="FCFDFF">
              <a:alpha val="39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74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j-ea"/>
              <a:cs typeface="+mj-cs"/>
              <a:sym typeface="Delivery Cd Black" panose="020F0906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200" cap="none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03105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r white big chevr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2A4B234E-792B-794E-992E-89CBBDBA896E}"/>
              </a:ext>
            </a:extLst>
          </p:cNvPr>
          <p:cNvGrpSpPr/>
          <p:nvPr userDrawn="1"/>
        </p:nvGrpSpPr>
        <p:grpSpPr>
          <a:xfrm>
            <a:off x="1" y="-8460"/>
            <a:ext cx="9941185" cy="6866459"/>
            <a:chOff x="0" y="-6345"/>
            <a:chExt cx="7455889" cy="5149844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FCE1ED8-043F-7F4A-AC2A-9BDA0C555A3F}"/>
                </a:ext>
              </a:extLst>
            </p:cNvPr>
            <p:cNvSpPr/>
            <p:nvPr userDrawn="1"/>
          </p:nvSpPr>
          <p:spPr bwMode="auto">
            <a:xfrm>
              <a:off x="3769534" y="-6345"/>
              <a:ext cx="3686355" cy="5149251"/>
            </a:xfrm>
            <a:custGeom>
              <a:avLst/>
              <a:gdLst>
                <a:gd name="connsiteX0" fmla="*/ 189781 w 3732362"/>
                <a:gd name="connsiteY0" fmla="*/ 0 h 5158596"/>
                <a:gd name="connsiteX1" fmla="*/ 2438400 w 3732362"/>
                <a:gd name="connsiteY1" fmla="*/ 2490159 h 5158596"/>
                <a:gd name="connsiteX2" fmla="*/ 0 w 3732362"/>
                <a:gd name="connsiteY2" fmla="*/ 5158596 h 5158596"/>
                <a:gd name="connsiteX3" fmla="*/ 1311215 w 3732362"/>
                <a:gd name="connsiteY3" fmla="*/ 5158596 h 5158596"/>
                <a:gd name="connsiteX4" fmla="*/ 3732362 w 3732362"/>
                <a:gd name="connsiteY4" fmla="*/ 2461404 h 5158596"/>
                <a:gd name="connsiteX5" fmla="*/ 1477993 w 3732362"/>
                <a:gd name="connsiteY5" fmla="*/ 5751 h 5158596"/>
                <a:gd name="connsiteX6" fmla="*/ 189781 w 3732362"/>
                <a:gd name="connsiteY6" fmla="*/ 0 h 515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32362" h="5158596">
                  <a:moveTo>
                    <a:pt x="189781" y="0"/>
                  </a:moveTo>
                  <a:lnTo>
                    <a:pt x="2438400" y="2490159"/>
                  </a:lnTo>
                  <a:lnTo>
                    <a:pt x="0" y="5158596"/>
                  </a:lnTo>
                  <a:lnTo>
                    <a:pt x="1311215" y="5158596"/>
                  </a:lnTo>
                  <a:lnTo>
                    <a:pt x="3732362" y="2461404"/>
                  </a:lnTo>
                  <a:lnTo>
                    <a:pt x="1477993" y="5751"/>
                  </a:lnTo>
                  <a:lnTo>
                    <a:pt x="189781" y="0"/>
                  </a:lnTo>
                  <a:close/>
                </a:path>
              </a:pathLst>
            </a:custGeom>
            <a:solidFill>
              <a:srgbClr val="EBEBEB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8B6DA817-2294-C54B-B504-A7AF4B2F961A}"/>
                </a:ext>
              </a:extLst>
            </p:cNvPr>
            <p:cNvSpPr/>
            <p:nvPr userDrawn="1"/>
          </p:nvSpPr>
          <p:spPr bwMode="auto">
            <a:xfrm>
              <a:off x="0" y="-5751"/>
              <a:ext cx="2564921" cy="2478657"/>
            </a:xfrm>
            <a:custGeom>
              <a:avLst/>
              <a:gdLst>
                <a:gd name="connsiteX0" fmla="*/ 0 w 2564921"/>
                <a:gd name="connsiteY0" fmla="*/ 0 h 2478657"/>
                <a:gd name="connsiteX1" fmla="*/ 0 w 2564921"/>
                <a:gd name="connsiteY1" fmla="*/ 1098430 h 2478657"/>
                <a:gd name="connsiteX2" fmla="*/ 1265208 w 2564921"/>
                <a:gd name="connsiteY2" fmla="*/ 2478657 h 2478657"/>
                <a:gd name="connsiteX3" fmla="*/ 2564921 w 2564921"/>
                <a:gd name="connsiteY3" fmla="*/ 2478657 h 2478657"/>
                <a:gd name="connsiteX4" fmla="*/ 316302 w 2564921"/>
                <a:gd name="connsiteY4" fmla="*/ 5751 h 2478657"/>
                <a:gd name="connsiteX5" fmla="*/ 0 w 2564921"/>
                <a:gd name="connsiteY5" fmla="*/ 0 h 2478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64921" h="2478657">
                  <a:moveTo>
                    <a:pt x="0" y="0"/>
                  </a:moveTo>
                  <a:lnTo>
                    <a:pt x="0" y="1098430"/>
                  </a:lnTo>
                  <a:lnTo>
                    <a:pt x="1265208" y="2478657"/>
                  </a:lnTo>
                  <a:lnTo>
                    <a:pt x="2564921" y="2478657"/>
                  </a:lnTo>
                  <a:lnTo>
                    <a:pt x="316302" y="57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EBEB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B8065AA-A2D1-034D-8760-941C5CCC3436}"/>
                </a:ext>
              </a:extLst>
            </p:cNvPr>
            <p:cNvSpPr/>
            <p:nvPr userDrawn="1"/>
          </p:nvSpPr>
          <p:spPr bwMode="auto">
            <a:xfrm>
              <a:off x="1299713" y="-5752"/>
              <a:ext cx="3686355" cy="5149251"/>
            </a:xfrm>
            <a:custGeom>
              <a:avLst/>
              <a:gdLst>
                <a:gd name="connsiteX0" fmla="*/ 189781 w 3732362"/>
                <a:gd name="connsiteY0" fmla="*/ 0 h 5158596"/>
                <a:gd name="connsiteX1" fmla="*/ 2438400 w 3732362"/>
                <a:gd name="connsiteY1" fmla="*/ 2490159 h 5158596"/>
                <a:gd name="connsiteX2" fmla="*/ 0 w 3732362"/>
                <a:gd name="connsiteY2" fmla="*/ 5158596 h 5158596"/>
                <a:gd name="connsiteX3" fmla="*/ 1311215 w 3732362"/>
                <a:gd name="connsiteY3" fmla="*/ 5158596 h 5158596"/>
                <a:gd name="connsiteX4" fmla="*/ 3732362 w 3732362"/>
                <a:gd name="connsiteY4" fmla="*/ 2461404 h 5158596"/>
                <a:gd name="connsiteX5" fmla="*/ 1477993 w 3732362"/>
                <a:gd name="connsiteY5" fmla="*/ 5751 h 5158596"/>
                <a:gd name="connsiteX6" fmla="*/ 189781 w 3732362"/>
                <a:gd name="connsiteY6" fmla="*/ 0 h 515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32362" h="5158596">
                  <a:moveTo>
                    <a:pt x="189781" y="0"/>
                  </a:moveTo>
                  <a:lnTo>
                    <a:pt x="2438400" y="2490159"/>
                  </a:lnTo>
                  <a:lnTo>
                    <a:pt x="0" y="5158596"/>
                  </a:lnTo>
                  <a:lnTo>
                    <a:pt x="1311215" y="5158596"/>
                  </a:lnTo>
                  <a:lnTo>
                    <a:pt x="3732362" y="2461404"/>
                  </a:lnTo>
                  <a:lnTo>
                    <a:pt x="1477993" y="5751"/>
                  </a:lnTo>
                  <a:lnTo>
                    <a:pt x="189781" y="0"/>
                  </a:lnTo>
                  <a:close/>
                </a:path>
              </a:pathLst>
            </a:custGeom>
            <a:solidFill>
              <a:srgbClr val="EBEBEB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76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333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333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6" name="Fußzeilenplatzhalter 33">
            <a:extLst>
              <a:ext uri="{FF2B5EF4-FFF2-40B4-BE49-F238E27FC236}">
                <a16:creationId xmlns:a16="http://schemas.microsoft.com/office/drawing/2014/main" id="{909969C5-E1A0-4533-813E-4D6AAAD0FE1B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E9DAAFB-E571-43FE-BB08-66B4FE4B6D7D}"/>
              </a:ext>
            </a:extLst>
          </p:cNvPr>
          <p:cNvSpPr txBox="1"/>
          <p:nvPr userDrawn="1"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1" name="meta-classification">
            <a:extLst>
              <a:ext uri="{FF2B5EF4-FFF2-40B4-BE49-F238E27FC236}">
                <a16:creationId xmlns:a16="http://schemas.microsoft.com/office/drawing/2014/main" id="{761ACE6D-5A53-4AEA-B1C8-994671C1DF42}"/>
              </a:ext>
            </a:extLst>
          </p:cNvPr>
          <p:cNvSpPr>
            <a:spLocks noGrp="1"/>
          </p:cNvSpPr>
          <p:nvPr userDrawn="1"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8" name="Rechteck 5">
            <a:extLst>
              <a:ext uri="{FF2B5EF4-FFF2-40B4-BE49-F238E27FC236}">
                <a16:creationId xmlns:a16="http://schemas.microsoft.com/office/drawing/2014/main" id="{C275A383-3E1C-A142-A30E-ADE1835996A5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9208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: picture, gradient top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9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0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7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6221636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4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3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68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474398"/>
            <a:ext cx="2167467" cy="942983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638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break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5AEB28FB-4CC8-9644-9A05-D2D3AE7CAE99}"/>
              </a:ext>
            </a:extLst>
          </p:cNvPr>
          <p:cNvSpPr/>
          <p:nvPr userDrawn="1"/>
        </p:nvSpPr>
        <p:spPr bwMode="auto">
          <a:xfrm>
            <a:off x="4417167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rgbClr val="EBEBE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333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333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1D70156B-B93C-5B44-8557-FE71F0111FA3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693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18">
            <a:extLst>
              <a:ext uri="{FF2B5EF4-FFF2-40B4-BE49-F238E27FC236}">
                <a16:creationId xmlns:a16="http://schemas.microsoft.com/office/drawing/2014/main" id="{01952B33-E93D-4F4D-A8EA-ACD22AD7AC96}"/>
              </a:ext>
            </a:extLst>
          </p:cNvPr>
          <p:cNvSpPr/>
          <p:nvPr userDrawn="1"/>
        </p:nvSpPr>
        <p:spPr bwMode="auto">
          <a:xfrm>
            <a:off x="4417167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rgbClr val="EBEBE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FE7DC0F-358C-473E-8A5C-44BF688CC2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1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FE7DC0F-358C-473E-8A5C-44BF688CC2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1A87659-B712-4DDD-B687-9D586E964DC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552000" y="1458546"/>
            <a:ext cx="11088000" cy="399764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9170" rtl="0" eaLnBrk="1" fontAlgn="auto" latinLnBrk="0" hangingPunct="1">
              <a:lnSpc>
                <a:spcPct val="11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1" baseline="0">
                <a:latin typeface="+mn-lt"/>
                <a:sym typeface="Delivery" panose="020F0503020204020204" pitchFamily="34" charset="0"/>
              </a:defRPr>
            </a:lvl1pPr>
            <a:lvl2pPr>
              <a:spcAft>
                <a:spcPts val="0"/>
              </a:spcAft>
              <a:buFontTx/>
              <a:buNone/>
              <a:defRPr sz="1600" b="0" baseline="0">
                <a:latin typeface="+mn-lt"/>
                <a:sym typeface="Delivery" panose="020F0503020204020204" pitchFamily="34" charset="0"/>
              </a:defRPr>
            </a:lvl2pPr>
            <a:lvl3pPr>
              <a:spcAft>
                <a:spcPts val="0"/>
              </a:spcAft>
              <a:buClr>
                <a:schemeClr val="tx1"/>
              </a:buClr>
              <a:defRPr sz="1600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600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600" baseline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52000" y="254530"/>
            <a:ext cx="961816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SST Strategic Meeting (Quarterly) | virtual | 21st April 2021</a:t>
            </a:r>
            <a:endParaRPr lang="en-US" dirty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1" name="Rechteck 5">
            <a:extLst>
              <a:ext uri="{FF2B5EF4-FFF2-40B4-BE49-F238E27FC236}">
                <a16:creationId xmlns:a16="http://schemas.microsoft.com/office/drawing/2014/main" id="{DDF1C2CF-74CD-0042-BDE3-5403198B24CF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289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 baseline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 err="1" smtClean="0"/>
              <a:t>Bild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auf Symbol </a:t>
            </a:r>
            <a:r>
              <a:rPr lang="en-US" dirty="0" err="1" smtClean="0"/>
              <a:t>hinzufügen</a:t>
            </a:r>
            <a:endParaRPr lang="en-US" dirty="0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D975E8-4A2D-4793-B144-5026BEC0F6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D975E8-4A2D-4793-B144-5026BEC0F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2BDB349-120F-4EC1-A8BB-8440DCD2BAC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ts val="73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j-ea"/>
              <a:cs typeface="+mj-cs"/>
              <a:sym typeface="Delivery Cd Black" panose="020F0906020204020204" pitchFamily="34" charset="0"/>
            </a:endParaRPr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/>
          </p:nvPr>
        </p:nvSpPr>
        <p:spPr bwMode="hidden">
          <a:xfrm>
            <a:off x="240000" y="5759051"/>
            <a:ext cx="11712000" cy="864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33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867"/>
              </a:spcAft>
              <a:buFont typeface="Arial" pitchFamily="34" charset="0"/>
              <a:buNone/>
            </a:pPr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52000" y="4521600"/>
            <a:ext cx="11088000" cy="72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7333"/>
              </a:lnSpc>
              <a:defRPr sz="4800" cap="all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DC4E1AF-85B9-E248-971A-F4125C6E5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 smtClean="0"/>
              <a:t>x</a:t>
            </a:r>
            <a:endParaRPr lang="en-US" dirty="0"/>
          </a:p>
        </p:txBody>
      </p:sp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820639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42AC75-A447-4E8C-B99C-6C477755B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26613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86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F42AC75-A447-4E8C-B99C-6C477755B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944A76-E2DD-4233-8385-429CBA29F34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ts val="73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8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 Cd Black" panose="020F0906020204020204" pitchFamily="34" charset="0"/>
              <a:ea typeface="+mj-ea"/>
              <a:cs typeface="+mj-cs"/>
              <a:sym typeface="Delivery Cd Black" panose="020F0906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52000" y="1625276"/>
            <a:ext cx="11088000" cy="72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7333"/>
              </a:lnSpc>
              <a:defRPr sz="4800" cap="all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13FF1DFA-3DD6-D642-A2F8-EE3C20D2F556}"/>
              </a:ext>
            </a:extLst>
          </p:cNvPr>
          <p:cNvSpPr/>
          <p:nvPr userDrawn="1"/>
        </p:nvSpPr>
        <p:spPr bwMode="auto">
          <a:xfrm>
            <a:off x="5152555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rgbClr val="FCFDFF">
              <a:alpha val="39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2176" y="301792"/>
            <a:ext cx="1380227" cy="585216"/>
          </a:xfrm>
          <a:prstGeom prst="rect">
            <a:avLst/>
          </a:prstGeom>
        </p:spPr>
      </p:pic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2762428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4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2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6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2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7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3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798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2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56922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4860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: picture, gradient bottom_b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1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2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6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2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7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3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798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2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56922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7987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: picture, gradient botto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19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2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6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2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7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3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798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2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56922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0059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7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8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6221637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9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9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72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474398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6240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: picture, gradient top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4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8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6221637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2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3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67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474398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1266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: picture, gradient top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2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8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6221637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5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5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68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474398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6627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1FB9862-0C1D-45A6-A6B7-0760D2A1F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2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1FB9862-0C1D-45A6-A6B7-0760D2A1F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696725A-3087-40C6-B421-B44ECAD0F54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6" name="Titel 9"/>
          <p:cNvSpPr>
            <a:spLocks noGrp="1"/>
          </p:cNvSpPr>
          <p:nvPr>
            <p:ph type="title"/>
          </p:nvPr>
        </p:nvSpPr>
        <p:spPr>
          <a:xfrm>
            <a:off x="552000" y="1097113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7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945113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593113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158259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5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6246" y="567177"/>
            <a:ext cx="2185359" cy="92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967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1FB9862-0C1D-45A6-A6B7-0760D2A1F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09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696725A-3087-40C6-B421-B44ECAD0F54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Titel 9"/>
          <p:cNvSpPr>
            <a:spLocks noGrp="1"/>
          </p:cNvSpPr>
          <p:nvPr>
            <p:ph type="title"/>
          </p:nvPr>
        </p:nvSpPr>
        <p:spPr>
          <a:xfrm>
            <a:off x="552000" y="1097114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7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945114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593114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158259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5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6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6247" y="567177"/>
            <a:ext cx="2185359" cy="926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543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BE897C5-97FD-42EE-AF0E-5D267D6927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0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366C51F-FF2C-4BE0-8ABD-7B377C1CED8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52000" y="1656552"/>
            <a:ext cx="8208000" cy="1800000"/>
          </a:xfrm>
        </p:spPr>
        <p:txBody>
          <a:bodyPr anchor="t"/>
          <a:lstStyle>
            <a:lvl1pPr>
              <a:lnSpc>
                <a:spcPct val="90000"/>
              </a:lnSpc>
              <a:defRPr sz="4798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6783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DEC7B846-1E1C-BD4C-9770-2A24AA6C53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1" y="101653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4" y="6488335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de-DE" smtClean="0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1652691"/>
            <a:ext cx="5428672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770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chevron and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9EC273E-BF66-5543-8816-4AFA3866EE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955" y="-3"/>
            <a:ext cx="7491047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37B3641-3061-744A-86CE-5456DC67E5FE}"/>
              </a:ext>
            </a:extLst>
          </p:cNvPr>
          <p:cNvSpPr/>
          <p:nvPr userDrawn="1"/>
        </p:nvSpPr>
        <p:spPr bwMode="auto">
          <a:xfrm>
            <a:off x="-44552" y="0"/>
            <a:ext cx="4557287" cy="6858000"/>
          </a:xfrm>
          <a:prstGeom prst="rect">
            <a:avLst/>
          </a:pr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5970" tIns="47985" rIns="47985" bIns="47985" numCol="1" rtlCol="0" anchor="t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599" dirty="0" err="1">
              <a:solidFill>
                <a:srgbClr val="000000"/>
              </a:solidFill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22A47439-E987-B248-9819-AFA001DDA0E1}"/>
              </a:ext>
            </a:extLst>
          </p:cNvPr>
          <p:cNvSpPr/>
          <p:nvPr userDrawn="1"/>
        </p:nvSpPr>
        <p:spPr bwMode="auto">
          <a:xfrm>
            <a:off x="3186659" y="0"/>
            <a:ext cx="5030567" cy="6858000"/>
          </a:xfrm>
          <a:custGeom>
            <a:avLst/>
            <a:gdLst>
              <a:gd name="connsiteX0" fmla="*/ 0 w 3834765"/>
              <a:gd name="connsiteY0" fmla="*/ 0 h 5166360"/>
              <a:gd name="connsiteX1" fmla="*/ 0 w 3834765"/>
              <a:gd name="connsiteY1" fmla="*/ 5166360 h 5166360"/>
              <a:gd name="connsiteX2" fmla="*/ 680085 w 3834765"/>
              <a:gd name="connsiteY2" fmla="*/ 5166360 h 5166360"/>
              <a:gd name="connsiteX3" fmla="*/ 1737360 w 3834765"/>
              <a:gd name="connsiteY3" fmla="*/ 5166360 h 5166360"/>
              <a:gd name="connsiteX4" fmla="*/ 3834765 w 3834765"/>
              <a:gd name="connsiteY4" fmla="*/ 2583180 h 5166360"/>
              <a:gd name="connsiteX5" fmla="*/ 1428750 w 3834765"/>
              <a:gd name="connsiteY5" fmla="*/ 0 h 5166360"/>
              <a:gd name="connsiteX6" fmla="*/ 0 w 3834765"/>
              <a:gd name="connsiteY6" fmla="*/ 0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34765" h="5166360">
                <a:moveTo>
                  <a:pt x="0" y="0"/>
                </a:moveTo>
                <a:lnTo>
                  <a:pt x="0" y="5166360"/>
                </a:lnTo>
                <a:lnTo>
                  <a:pt x="680085" y="5166360"/>
                </a:lnTo>
                <a:lnTo>
                  <a:pt x="1737360" y="5166360"/>
                </a:lnTo>
                <a:lnTo>
                  <a:pt x="3834765" y="2583180"/>
                </a:lnTo>
                <a:lnTo>
                  <a:pt x="1428750" y="0"/>
                </a:lnTo>
                <a:lnTo>
                  <a:pt x="0" y="0"/>
                </a:lnTo>
                <a:close/>
              </a:path>
            </a:pathLst>
          </a:cu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5970" tIns="47985" rIns="47985" bIns="47985" numCol="1" rtlCol="0" anchor="t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99" dirty="0" err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223DD813-ED9B-E34A-8364-EBAA3A6A489D}"/>
              </a:ext>
            </a:extLst>
          </p:cNvPr>
          <p:cNvSpPr/>
          <p:nvPr userDrawn="1"/>
        </p:nvSpPr>
        <p:spPr bwMode="auto">
          <a:xfrm>
            <a:off x="3235148" y="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5970" tIns="47985" rIns="47985" bIns="47985" numCol="1" rtlCol="0" anchor="t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599" dirty="0" err="1">
              <a:solidFill>
                <a:srgbClr val="000000"/>
              </a:solidFill>
              <a:highlight>
                <a:srgbClr val="B2B2B2"/>
              </a:highlight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2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GB">
                <a:solidFill>
                  <a:srgbClr val="FFFFFF"/>
                </a:solidFill>
              </a:rPr>
              <a:t>Presentation title | Location | xx Month 20xx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4" y="6488335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2485342"/>
            <a:ext cx="5664000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109B6C-5B73-5D4B-A35E-4E6CA144A4AB}"/>
              </a:ext>
            </a:extLst>
          </p:cNvPr>
          <p:cNvSpPr txBox="1"/>
          <p:nvPr userDrawn="1"/>
        </p:nvSpPr>
        <p:spPr>
          <a:xfrm>
            <a:off x="6776187" y="-250255"/>
            <a:ext cx="65" cy="2707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666"/>
              </a:spcAft>
            </a:pPr>
            <a:endParaRPr lang="en-US" sz="1599" dirty="0" err="1">
              <a:solidFill>
                <a:srgbClr val="000000"/>
              </a:solidFill>
            </a:endParaRP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793E5C9C-E448-3946-B65B-BFB80DCBB2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1" y="101653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4634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8B84C1-B965-470D-A97F-7C63518E6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0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C822327-C4FB-4B8E-A218-AE296D626B6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6"/>
          </p:nvPr>
        </p:nvSpPr>
        <p:spPr bwMode="gray">
          <a:xfrm>
            <a:off x="552000" y="1458547"/>
            <a:ext cx="5400000" cy="4168154"/>
          </a:xfrm>
          <a:prstGeom prst="rect">
            <a:avLst/>
          </a:prstGeom>
        </p:spPr>
        <p:txBody>
          <a:bodyPr lIns="0" tIns="0" rIns="0" bIns="0"/>
          <a:lstStyle>
            <a:lvl1pPr marL="355475" marR="0" indent="-355475" algn="l" defTabSz="1218774" rtl="0" eaLnBrk="1" fontAlgn="auto" latinLnBrk="0" hangingPunct="1">
              <a:lnSpc>
                <a:spcPct val="100000"/>
              </a:lnSpc>
              <a:spcBef>
                <a:spcPts val="1866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599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475" marR="0" indent="0" algn="l" defTabSz="1218774" rtl="0" eaLnBrk="1" fontAlgn="auto" latinLnBrk="0" hangingPunct="1">
              <a:lnSpc>
                <a:spcPct val="100000"/>
              </a:lnSpc>
              <a:spcAft>
                <a:spcPts val="666"/>
              </a:spcAft>
              <a:buClrTx/>
              <a:buSzTx/>
              <a:buFontTx/>
              <a:buNone/>
              <a:tabLst/>
              <a:defRPr lang="en-US" sz="1599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21" name="Textplatzhalter 18"/>
          <p:cNvSpPr>
            <a:spLocks noGrp="1"/>
          </p:cNvSpPr>
          <p:nvPr>
            <p:ph type="body" sz="quarter" idx="26"/>
          </p:nvPr>
        </p:nvSpPr>
        <p:spPr bwMode="gray">
          <a:xfrm>
            <a:off x="6244200" y="1458547"/>
            <a:ext cx="5400000" cy="4168154"/>
          </a:xfrm>
          <a:prstGeom prst="rect">
            <a:avLst/>
          </a:prstGeom>
        </p:spPr>
        <p:txBody>
          <a:bodyPr lIns="0" tIns="0" rIns="0" bIns="0"/>
          <a:lstStyle>
            <a:lvl1pPr marL="355475" marR="0" indent="-355475" algn="l" defTabSz="1218774" rtl="0" eaLnBrk="1" fontAlgn="auto" latinLnBrk="0" hangingPunct="1">
              <a:lnSpc>
                <a:spcPct val="100000"/>
              </a:lnSpc>
              <a:spcBef>
                <a:spcPts val="1866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599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475" marR="0" indent="0" algn="l" defTabSz="1218774" rtl="0" eaLnBrk="1" fontAlgn="auto" latinLnBrk="0" hangingPunct="1">
              <a:lnSpc>
                <a:spcPct val="100000"/>
              </a:lnSpc>
              <a:spcAft>
                <a:spcPts val="666"/>
              </a:spcAft>
              <a:buClrTx/>
              <a:buSzTx/>
              <a:buFontTx/>
              <a:buNone/>
              <a:tabLst/>
              <a:defRPr lang="en-US" sz="1599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552001" y="254532"/>
            <a:ext cx="8526563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6" name="Rechteck 5">
            <a:extLst>
              <a:ext uri="{FF2B5EF4-FFF2-40B4-BE49-F238E27FC236}">
                <a16:creationId xmlns:a16="http://schemas.microsoft.com/office/drawing/2014/main" id="{85D99883-DB49-B94C-855F-11AE75ADD806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5570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CC54D76-52BE-4958-8E9F-49D56CCD05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97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E67424-2D29-4257-A62A-2C0781F9F78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/>
          </p:nvPr>
        </p:nvSpPr>
        <p:spPr bwMode="gray">
          <a:xfrm>
            <a:off x="551999" y="1458546"/>
            <a:ext cx="5400000" cy="2678400"/>
          </a:xfrm>
          <a:prstGeom prst="rect">
            <a:avLst/>
          </a:prstGeom>
        </p:spPr>
        <p:txBody>
          <a:bodyPr lIns="0" tIns="0" rIns="0" bIns="0"/>
          <a:lstStyle>
            <a:lvl1pPr marL="355475" marR="0" indent="-355475" algn="l" defTabSz="1218774" rtl="0" eaLnBrk="1" fontAlgn="auto" latinLnBrk="0" hangingPunct="1">
              <a:lnSpc>
                <a:spcPct val="100000"/>
              </a:lnSpc>
              <a:spcBef>
                <a:spcPts val="1866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599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475" marR="0" indent="0" algn="l" defTabSz="1218774" rtl="0" eaLnBrk="1" fontAlgn="auto" latinLnBrk="0" hangingPunct="1">
              <a:lnSpc>
                <a:spcPct val="100000"/>
              </a:lnSpc>
              <a:spcAft>
                <a:spcPts val="666"/>
              </a:spcAft>
              <a:buClrTx/>
              <a:buSzTx/>
              <a:buFontTx/>
              <a:buNone/>
              <a:tabLst/>
              <a:defRPr lang="en-US" sz="1599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514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40200" y="4186701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6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736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360200" y="4186701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6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958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80200" y="4186701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6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>
          <a:xfrm>
            <a:off x="552000" y="254532"/>
            <a:ext cx="8502696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33" name="Textfeld 32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0" name="Rechteck 5">
            <a:extLst>
              <a:ext uri="{FF2B5EF4-FFF2-40B4-BE49-F238E27FC236}">
                <a16:creationId xmlns:a16="http://schemas.microsoft.com/office/drawing/2014/main" id="{D734060B-2F4F-964D-A93A-15D61CC85C67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1594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5">
            <a:extLst>
              <a:ext uri="{FF2B5EF4-FFF2-40B4-BE49-F238E27FC236}">
                <a16:creationId xmlns:a16="http://schemas.microsoft.com/office/drawing/2014/main" id="{3A8B53D3-AE00-AB4C-A611-66E241EFAF24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D32F061-BA4C-448E-AFE3-012A2685D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5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7D09EE9-17AE-4635-AFE3-E0D639ABB92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552001" y="254532"/>
            <a:ext cx="958090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552452" y="1458547"/>
            <a:ext cx="11091333" cy="43834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 marL="0" indent="0"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5939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03D961C-85E5-4817-A147-B2D8A18D64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3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D7D1918-7069-4B4E-A603-83084F5BC9B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552001" y="254532"/>
            <a:ext cx="945898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781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3A8B53D3-AE00-AB4C-A611-66E241EFAF24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72178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54">
          <p15:clr>
            <a:srgbClr val="FBAE40"/>
          </p15:clr>
        </p15:guide>
        <p15:guide id="2" pos="249">
          <p15:clr>
            <a:srgbClr val="FBAE40"/>
          </p15:clr>
        </p15:guide>
        <p15:guide id="3" pos="551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074651-BF6A-4ED8-B928-F780E23F62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0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91F3376-AE03-45BE-BEA5-5C2ABCE342E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552001" y="254532"/>
            <a:ext cx="958090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6242051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Rechteck 5">
            <a:extLst>
              <a:ext uri="{FF2B5EF4-FFF2-40B4-BE49-F238E27FC236}">
                <a16:creationId xmlns:a16="http://schemas.microsoft.com/office/drawing/2014/main" id="{BFB12557-D5F4-1E46-B0CF-260101BFBE07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0894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pictur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A0A2A26-BC8D-4642-82D5-CB7489ABE2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8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DF84CFF-5E2D-4888-9AAB-7A51BB2E683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960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22124A0A-F575-40C4-BD79-2D1A0E93D6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ltGray">
          <a:xfrm>
            <a:off x="6242049" y="1458547"/>
            <a:ext cx="5400000" cy="439403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6D7758A1-F895-4BFD-ACEB-EE8374FBC4A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ltGray">
          <a:xfrm>
            <a:off x="552451" y="1458547"/>
            <a:ext cx="5400000" cy="439403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ußzeilenplatzhalter 33">
            <a:extLst>
              <a:ext uri="{FF2B5EF4-FFF2-40B4-BE49-F238E27FC236}">
                <a16:creationId xmlns:a16="http://schemas.microsoft.com/office/drawing/2014/main" id="{AA75FEA1-1BC7-4045-92F0-E1B9E12119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6C1C95DF-AFF3-1146-AC81-EFBEAAF1815E}"/>
              </a:ext>
            </a:extLst>
          </p:cNvPr>
          <p:cNvSpPr txBox="1"/>
          <p:nvPr userDrawn="1"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4" name="Rechteck 5">
            <a:extLst>
              <a:ext uri="{FF2B5EF4-FFF2-40B4-BE49-F238E27FC236}">
                <a16:creationId xmlns:a16="http://schemas.microsoft.com/office/drawing/2014/main" id="{348310D2-3AEB-CA4E-B9D3-95B821099874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5478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BE897C5-97FD-42EE-AF0E-5D267D6927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4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BE897C5-97FD-42EE-AF0E-5D267D692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366C51F-FF2C-4BE0-8ABD-7B377C1CED8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52000" y="1656552"/>
            <a:ext cx="8208000" cy="1800000"/>
          </a:xfrm>
        </p:spPr>
        <p:txBody>
          <a:bodyPr anchor="t"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276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85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C7D316E7-59A8-F640-BD69-264A352B4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1" y="101653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09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light image full screen_B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1C20BE7-4A3E-B44A-BE89-F16F541BA8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25" y="301793"/>
            <a:ext cx="1373607" cy="590192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3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153888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light image full screen_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1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4421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dark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78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A254E98-BA85-2B43-9A9F-BD9D132A092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1" y="101653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5357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dark image full scree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6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2531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dark image full scree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3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C5EC62C3-8B17-8C4B-B121-0F2083AA55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298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42D98AA-714B-4563-8BBF-05617BF23D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1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B9BC3D-7687-4754-8C48-0129DCDB8B5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3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 bwMode="hidden">
          <a:xfrm>
            <a:off x="552000" y="5231789"/>
            <a:ext cx="7008000" cy="111029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3199" cap="none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0" name="Fußzeilenplatzhalter 33">
            <a:extLst>
              <a:ext uri="{FF2B5EF4-FFF2-40B4-BE49-F238E27FC236}">
                <a16:creationId xmlns:a16="http://schemas.microsoft.com/office/drawing/2014/main" id="{F31937AF-5FB6-8C42-9CA1-014B87D358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DBF2570E-4CB6-6A45-8364-CC294C6B1B63}"/>
              </a:ext>
            </a:extLst>
          </p:cNvPr>
          <p:cNvSpPr txBox="1"/>
          <p:nvPr userDrawn="1"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7" name="Rechteck 5">
            <a:extLst>
              <a:ext uri="{FF2B5EF4-FFF2-40B4-BE49-F238E27FC236}">
                <a16:creationId xmlns:a16="http://schemas.microsoft.com/office/drawing/2014/main" id="{170F4D5D-60EE-A344-A164-FE56350E90AD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0537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r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3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199" cap="none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041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r white big chevr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6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3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332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6" name="Fußzeilenplatzhalter 33">
            <a:extLst>
              <a:ext uri="{FF2B5EF4-FFF2-40B4-BE49-F238E27FC236}">
                <a16:creationId xmlns:a16="http://schemas.microsoft.com/office/drawing/2014/main" id="{909969C5-E1A0-4533-813E-4D6AAAD0FE1B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E9DAAFB-E571-43FE-BB08-66B4FE4B6D7D}"/>
              </a:ext>
            </a:extLst>
          </p:cNvPr>
          <p:cNvSpPr txBox="1"/>
          <p:nvPr userDrawn="1"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1" name="meta-classification">
            <a:extLst>
              <a:ext uri="{FF2B5EF4-FFF2-40B4-BE49-F238E27FC236}">
                <a16:creationId xmlns:a16="http://schemas.microsoft.com/office/drawing/2014/main" id="{761ACE6D-5A53-4AEA-B1C8-994671C1DF42}"/>
              </a:ext>
            </a:extLst>
          </p:cNvPr>
          <p:cNvSpPr>
            <a:spLocks noGrp="1"/>
          </p:cNvSpPr>
          <p:nvPr userDrawn="1"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8" name="Rechteck 5">
            <a:extLst>
              <a:ext uri="{FF2B5EF4-FFF2-40B4-BE49-F238E27FC236}">
                <a16:creationId xmlns:a16="http://schemas.microsoft.com/office/drawing/2014/main" id="{C275A383-3E1C-A142-A30E-ADE1835996A5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8257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break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4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3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332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1D70156B-B93C-5B44-8557-FE71F0111FA3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1875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DEC7B846-1E1C-BD4C-9770-2A24AA6C53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7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2" y="6488334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1652691"/>
            <a:ext cx="5428672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303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FE7DC0F-358C-473E-8A5C-44BF688CC2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1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1A87659-B712-4DDD-B687-9D586E964DC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552000" y="1458547"/>
            <a:ext cx="11088000" cy="399764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774" rtl="0" eaLnBrk="1" fontAlgn="auto" latinLnBrk="0" hangingPunct="1">
              <a:lnSpc>
                <a:spcPct val="110000"/>
              </a:lnSpc>
              <a:spcBef>
                <a:spcPts val="1866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9" b="1" baseline="0">
                <a:latin typeface="+mn-lt"/>
                <a:sym typeface="Delivery" panose="020F0503020204020204" pitchFamily="34" charset="0"/>
              </a:defRPr>
            </a:lvl1pPr>
            <a:lvl2pPr>
              <a:spcAft>
                <a:spcPts val="0"/>
              </a:spcAft>
              <a:buFontTx/>
              <a:buNone/>
              <a:defRPr sz="1599" b="0" baseline="0">
                <a:latin typeface="+mn-lt"/>
                <a:sym typeface="Delivery" panose="020F0503020204020204" pitchFamily="34" charset="0"/>
              </a:defRPr>
            </a:lvl2pPr>
            <a:lvl3pPr>
              <a:spcAft>
                <a:spcPts val="0"/>
              </a:spcAft>
              <a:buClr>
                <a:schemeClr val="tx1"/>
              </a:buClr>
              <a:defRPr sz="1599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599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599" baseline="0"/>
            </a:lvl5pPr>
          </a:lstStyle>
          <a:p>
            <a:pPr lvl="0"/>
            <a:endParaRPr lang="en-US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52000" y="254532"/>
            <a:ext cx="961816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1" name="Rechteck 5">
            <a:extLst>
              <a:ext uri="{FF2B5EF4-FFF2-40B4-BE49-F238E27FC236}">
                <a16:creationId xmlns:a16="http://schemas.microsoft.com/office/drawing/2014/main" id="{DDF1C2CF-74CD-0042-BDE3-5403198B24CF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583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 baseline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D975E8-4A2D-4793-B144-5026BEC0F6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59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2BDB349-120F-4EC1-A8BB-8440DCD2BAC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5598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/>
          </p:nvPr>
        </p:nvSpPr>
        <p:spPr bwMode="hidden">
          <a:xfrm>
            <a:off x="240000" y="5759051"/>
            <a:ext cx="11712000" cy="864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33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86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52000" y="4521601"/>
            <a:ext cx="11088000" cy="72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7331"/>
              </a:lnSpc>
              <a:defRPr sz="4798" cap="all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DC4E1AF-85B9-E248-971A-F4125C6E5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0530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42AC75-A447-4E8C-B99C-6C477755B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7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944A76-E2DD-4233-8385-429CBA29F34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5598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52000" y="1625276"/>
            <a:ext cx="11088000" cy="72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7331"/>
              </a:lnSpc>
              <a:defRPr sz="4798" cap="all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2177" y="301792"/>
            <a:ext cx="1380227" cy="585217"/>
          </a:xfrm>
          <a:prstGeom prst="rect">
            <a:avLst/>
          </a:prstGeom>
        </p:spPr>
      </p:pic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6519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0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4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BB83D58E-2479-4EB7-9A4B-0AE6BB0146F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5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3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7" y="6192000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44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0" y="3"/>
            <a:ext cx="1203856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4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2266966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70426"/>
            <a:ext cx="5951547" cy="658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>
                <a:solidFill>
                  <a:prstClr val="black"/>
                </a:solidFill>
              </a:rPr>
              <a:t>Logistics Trend Radar 5th Edition Overview | DHL Trend Research | August 20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4722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E8B2E4A5-D098-EE49-85AC-2DEC8960BD0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72" y="2"/>
            <a:ext cx="5135033" cy="6863999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3"/>
            <a:ext cx="5409240" cy="658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>
                <a:solidFill>
                  <a:srgbClr val="000000"/>
                </a:solidFill>
              </a:rPr>
              <a:t>DHL SmartSensor IoT | December 20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Rechteck 5">
            <a:extLst>
              <a:ext uri="{FF2B5EF4-FFF2-40B4-BE49-F238E27FC236}">
                <a16:creationId xmlns:a16="http://schemas.microsoft.com/office/drawing/2014/main" id="{1119C61A-6AB2-1B48-935B-4C01589FC9AC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882" tIns="191882" rIns="191882" bIns="191882" numCol="1" rtlCol="0" anchor="ctr" anchorCtr="0" compatLnSpc="1">
            <a:prstTxWarp prst="textNoShape">
              <a:avLst/>
            </a:prstTxWarp>
          </a:bodyPr>
          <a:lstStyle/>
          <a:p>
            <a:pPr defTabSz="132628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E9283F44-E2D7-A948-AD4D-D12CC86B48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9" y="301793"/>
            <a:ext cx="1373607" cy="590192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795653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>
                <a:solidFill>
                  <a:prstClr val="black"/>
                </a:solidFill>
              </a:rPr>
              <a:t>Ingage IoT Track | November 20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70426"/>
            <a:ext cx="9298595" cy="6586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88804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4103053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3485487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207492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5" y="0"/>
            <a:ext cx="5135032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6028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59" y="692152"/>
            <a:ext cx="6403200" cy="59568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0" y="3678626"/>
            <a:ext cx="6209661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525358"/>
            <a:ext cx="6209660" cy="2153268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209661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209661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30142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chevron and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9EC273E-BF66-5543-8816-4AFA3866EE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954" y="-3"/>
            <a:ext cx="7491047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37B3641-3061-744A-86CE-5456DC67E5FE}"/>
              </a:ext>
            </a:extLst>
          </p:cNvPr>
          <p:cNvSpPr/>
          <p:nvPr userDrawn="1"/>
        </p:nvSpPr>
        <p:spPr bwMode="auto">
          <a:xfrm>
            <a:off x="-44553" y="0"/>
            <a:ext cx="4557287" cy="6858000"/>
          </a:xfrm>
          <a:prstGeom prst="rect">
            <a:avLst/>
          </a:pr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22A47439-E987-B248-9819-AFA001DDA0E1}"/>
              </a:ext>
            </a:extLst>
          </p:cNvPr>
          <p:cNvSpPr/>
          <p:nvPr userDrawn="1"/>
        </p:nvSpPr>
        <p:spPr bwMode="auto">
          <a:xfrm>
            <a:off x="3186658" y="0"/>
            <a:ext cx="5030567" cy="6858000"/>
          </a:xfrm>
          <a:custGeom>
            <a:avLst/>
            <a:gdLst>
              <a:gd name="connsiteX0" fmla="*/ 0 w 3834765"/>
              <a:gd name="connsiteY0" fmla="*/ 0 h 5166360"/>
              <a:gd name="connsiteX1" fmla="*/ 0 w 3834765"/>
              <a:gd name="connsiteY1" fmla="*/ 5166360 h 5166360"/>
              <a:gd name="connsiteX2" fmla="*/ 680085 w 3834765"/>
              <a:gd name="connsiteY2" fmla="*/ 5166360 h 5166360"/>
              <a:gd name="connsiteX3" fmla="*/ 1737360 w 3834765"/>
              <a:gd name="connsiteY3" fmla="*/ 5166360 h 5166360"/>
              <a:gd name="connsiteX4" fmla="*/ 3834765 w 3834765"/>
              <a:gd name="connsiteY4" fmla="*/ 2583180 h 5166360"/>
              <a:gd name="connsiteX5" fmla="*/ 1428750 w 3834765"/>
              <a:gd name="connsiteY5" fmla="*/ 0 h 5166360"/>
              <a:gd name="connsiteX6" fmla="*/ 0 w 3834765"/>
              <a:gd name="connsiteY6" fmla="*/ 0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34765" h="5166360">
                <a:moveTo>
                  <a:pt x="0" y="0"/>
                </a:moveTo>
                <a:lnTo>
                  <a:pt x="0" y="5166360"/>
                </a:lnTo>
                <a:lnTo>
                  <a:pt x="680085" y="5166360"/>
                </a:lnTo>
                <a:lnTo>
                  <a:pt x="1737360" y="5166360"/>
                </a:lnTo>
                <a:lnTo>
                  <a:pt x="3834765" y="2583180"/>
                </a:lnTo>
                <a:lnTo>
                  <a:pt x="1428750" y="0"/>
                </a:lnTo>
                <a:lnTo>
                  <a:pt x="0" y="0"/>
                </a:lnTo>
                <a:close/>
              </a:path>
            </a:pathLst>
          </a:cu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223DD813-ED9B-E34A-8364-EBAA3A6A489D}"/>
              </a:ext>
            </a:extLst>
          </p:cNvPr>
          <p:cNvSpPr/>
          <p:nvPr userDrawn="1"/>
        </p:nvSpPr>
        <p:spPr bwMode="auto">
          <a:xfrm>
            <a:off x="3235147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9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GB"/>
              <a:t>Presentation title | Location | xx Month 20xx</a:t>
            </a:r>
            <a:endParaRPr lang="en-GB" dirty="0"/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2" y="6488334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2485341"/>
            <a:ext cx="5664000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109B6C-5B73-5D4B-A35E-4E6CA144A4AB}"/>
              </a:ext>
            </a:extLst>
          </p:cNvPr>
          <p:cNvSpPr txBox="1"/>
          <p:nvPr userDrawn="1"/>
        </p:nvSpPr>
        <p:spPr>
          <a:xfrm>
            <a:off x="6776186" y="-250257"/>
            <a:ext cx="65" cy="2708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667"/>
              </a:spcAft>
            </a:pPr>
            <a:endParaRPr lang="en-US" sz="1600" dirty="0" err="1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793E5C9C-E448-3946-B65B-BFB80DCBB2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964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1580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2000" cy="6864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33"/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333333"/>
          </a:solidFill>
        </p:spPr>
        <p:txBody>
          <a:bodyPr lIns="324000" tIns="576000"/>
          <a:lstStyle>
            <a:lvl1pPr>
              <a:defRPr sz="1333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FOR INTERNAL US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96064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66919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9" y="0"/>
            <a:ext cx="5135033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49123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1" y="1534584"/>
            <a:ext cx="3630084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77786" y="1534584"/>
            <a:ext cx="3630085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 startAt="7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075374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600"/>
              <a:t>Bullet number, Delivery, 12 </a:t>
            </a:r>
            <a:r>
              <a:rPr lang="en-US" sz="1600" err="1"/>
              <a:t>pt</a:t>
            </a:r>
            <a:r>
              <a:rPr lang="en-US" sz="160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3048000" y="2305617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24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6145587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83650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6066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424324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06066" y="1534584"/>
            <a:ext cx="5553933" cy="4707467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196650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0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11986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8B84C1-B965-470D-A97F-7C63518E6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21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8B84C1-B965-470D-A97F-7C63518E6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C822327-C4FB-4B8E-A218-AE296D626B6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6"/>
          </p:nvPr>
        </p:nvSpPr>
        <p:spPr bwMode="gray">
          <a:xfrm>
            <a:off x="552000" y="1458545"/>
            <a:ext cx="5400000" cy="4168155"/>
          </a:xfrm>
          <a:prstGeom prst="rect">
            <a:avLst/>
          </a:prstGeom>
        </p:spPr>
        <p:txBody>
          <a:bodyPr lIns="0" tIns="0" rIns="0" bIns="0"/>
          <a:lstStyle>
            <a:lvl1pPr marL="355591" marR="0" indent="-355591" algn="l" defTabSz="1219170" rtl="0" eaLnBrk="1" fontAlgn="auto" latinLnBrk="0" hangingPunct="1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6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591" marR="0" indent="0" algn="l" defTabSz="1219170" rtl="0" eaLnBrk="1" fontAlgn="auto" latinLnBrk="0" hangingPunct="1">
              <a:lnSpc>
                <a:spcPct val="100000"/>
              </a:lnSpc>
              <a:spcAft>
                <a:spcPts val="667"/>
              </a:spcAft>
              <a:buClrTx/>
              <a:buSzTx/>
              <a:buFontTx/>
              <a:buNone/>
              <a:tabLst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21" name="Textplatzhalter 18"/>
          <p:cNvSpPr>
            <a:spLocks noGrp="1"/>
          </p:cNvSpPr>
          <p:nvPr>
            <p:ph type="body" sz="quarter" idx="26"/>
          </p:nvPr>
        </p:nvSpPr>
        <p:spPr bwMode="gray">
          <a:xfrm>
            <a:off x="6244200" y="1458545"/>
            <a:ext cx="5400000" cy="4168155"/>
          </a:xfrm>
          <a:prstGeom prst="rect">
            <a:avLst/>
          </a:prstGeom>
        </p:spPr>
        <p:txBody>
          <a:bodyPr lIns="0" tIns="0" rIns="0" bIns="0"/>
          <a:lstStyle>
            <a:lvl1pPr marL="355591" marR="0" indent="-355591" algn="l" defTabSz="1219170" rtl="0" eaLnBrk="1" fontAlgn="auto" latinLnBrk="0" hangingPunct="1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6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591" marR="0" indent="0" algn="l" defTabSz="1219170" rtl="0" eaLnBrk="1" fontAlgn="auto" latinLnBrk="0" hangingPunct="1">
              <a:lnSpc>
                <a:spcPct val="100000"/>
              </a:lnSpc>
              <a:spcAft>
                <a:spcPts val="667"/>
              </a:spcAft>
              <a:buClrTx/>
              <a:buSzTx/>
              <a:buFontTx/>
              <a:buNone/>
              <a:tabLst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552000" y="254530"/>
            <a:ext cx="8526563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6" name="Rechteck 5">
            <a:extLst>
              <a:ext uri="{FF2B5EF4-FFF2-40B4-BE49-F238E27FC236}">
                <a16:creationId xmlns:a16="http://schemas.microsoft.com/office/drawing/2014/main" id="{85D99883-DB49-B94C-855F-11AE75ADD806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640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3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659151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5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12683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2001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6064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178515217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269099329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6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16220352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50283347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65490" y="2617595"/>
            <a:ext cx="6978649" cy="1196824"/>
          </a:xfrm>
        </p:spPr>
        <p:txBody>
          <a:bodyPr>
            <a:noAutofit/>
          </a:bodyPr>
          <a:lstStyle>
            <a:lvl1pPr>
              <a:lnSpc>
                <a:spcPts val="4000"/>
              </a:lnSpc>
              <a:spcAft>
                <a:spcPts val="0"/>
              </a:spcAft>
              <a:defRPr sz="3333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“This space is reserved for quotes.</a:t>
            </a:r>
            <a:br>
              <a:rPr lang="en-US"/>
            </a:br>
            <a:r>
              <a:rPr lang="en-US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77919981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425725" y="1980238"/>
            <a:ext cx="417888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800" b="0" cap="all" baseline="0" noProof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08801952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C0D95C-1788-4870-AB47-F45E6329A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380"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C0D95C-1788-4870-AB47-F45E6329A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" name="Picture 54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318" y="-1339"/>
            <a:ext cx="1316503" cy="6858000"/>
          </a:xfrm>
          <a:prstGeom prst="rect">
            <a:avLst/>
          </a:prstGeom>
        </p:spPr>
      </p:pic>
      <p:sp>
        <p:nvSpPr>
          <p:cNvPr id="56" name="Freeform 55"/>
          <p:cNvSpPr/>
          <p:nvPr userDrawn="1"/>
        </p:nvSpPr>
        <p:spPr>
          <a:xfrm>
            <a:off x="3" y="6034991"/>
            <a:ext cx="1317812" cy="828399"/>
          </a:xfrm>
          <a:custGeom>
            <a:avLst/>
            <a:gdLst>
              <a:gd name="connsiteX0" fmla="*/ 0 w 1317812"/>
              <a:gd name="connsiteY0" fmla="*/ 0 h 828398"/>
              <a:gd name="connsiteX1" fmla="*/ 147916 w 1317812"/>
              <a:gd name="connsiteY1" fmla="*/ 7198 h 828398"/>
              <a:gd name="connsiteX2" fmla="*/ 1208256 w 1317812"/>
              <a:gd name="connsiteY2" fmla="*/ 348352 h 828398"/>
              <a:gd name="connsiteX3" fmla="*/ 1317812 w 1317812"/>
              <a:gd name="connsiteY3" fmla="*/ 421774 h 828398"/>
              <a:gd name="connsiteX4" fmla="*/ 1317812 w 1317812"/>
              <a:gd name="connsiteY4" fmla="*/ 828398 h 828398"/>
              <a:gd name="connsiteX5" fmla="*/ 0 w 1317812"/>
              <a:gd name="connsiteY5" fmla="*/ 828398 h 828398"/>
              <a:gd name="connsiteX6" fmla="*/ 0 w 1317812"/>
              <a:gd name="connsiteY6" fmla="*/ 0 h 828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17812" h="828398">
                <a:moveTo>
                  <a:pt x="0" y="0"/>
                </a:moveTo>
                <a:lnTo>
                  <a:pt x="147916" y="7198"/>
                </a:lnTo>
                <a:cubicBezTo>
                  <a:pt x="544666" y="46101"/>
                  <a:pt x="908044" y="167480"/>
                  <a:pt x="1208256" y="348352"/>
                </a:cubicBezTo>
                <a:lnTo>
                  <a:pt x="1317812" y="421774"/>
                </a:lnTo>
                <a:lnTo>
                  <a:pt x="1317812" y="828398"/>
                </a:lnTo>
                <a:lnTo>
                  <a:pt x="0" y="828398"/>
                </a:lnTo>
                <a:lnTo>
                  <a:pt x="0" y="0"/>
                </a:lnTo>
                <a:close/>
              </a:path>
            </a:pathLst>
          </a:cu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grpSp>
        <p:nvGrpSpPr>
          <p:cNvPr id="57" name="Group 56"/>
          <p:cNvGrpSpPr/>
          <p:nvPr userDrawn="1"/>
        </p:nvGrpSpPr>
        <p:grpSpPr>
          <a:xfrm>
            <a:off x="250232" y="6508377"/>
            <a:ext cx="803041" cy="113603"/>
            <a:chOff x="637541" y="4487055"/>
            <a:chExt cx="5700713" cy="806450"/>
          </a:xfrm>
        </p:grpSpPr>
        <p:sp>
          <p:nvSpPr>
            <p:cNvPr id="58" name="Freeform 200"/>
            <p:cNvSpPr>
              <a:spLocks/>
            </p:cNvSpPr>
            <p:nvPr/>
          </p:nvSpPr>
          <p:spPr bwMode="auto">
            <a:xfrm>
              <a:off x="637541" y="5129992"/>
              <a:ext cx="771525" cy="57150"/>
            </a:xfrm>
            <a:custGeom>
              <a:avLst/>
              <a:gdLst>
                <a:gd name="T0" fmla="*/ 0 w 486"/>
                <a:gd name="T1" fmla="*/ 0 h 36"/>
                <a:gd name="T2" fmla="*/ 486 w 486"/>
                <a:gd name="T3" fmla="*/ 0 h 36"/>
                <a:gd name="T4" fmla="*/ 458 w 486"/>
                <a:gd name="T5" fmla="*/ 36 h 36"/>
                <a:gd name="T6" fmla="*/ 0 w 486"/>
                <a:gd name="T7" fmla="*/ 36 h 36"/>
                <a:gd name="T8" fmla="*/ 0 w 486"/>
                <a:gd name="T9" fmla="*/ 0 h 36"/>
                <a:gd name="T10" fmla="*/ 0 w 486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6" h="36">
                  <a:moveTo>
                    <a:pt x="0" y="0"/>
                  </a:moveTo>
                  <a:lnTo>
                    <a:pt x="486" y="0"/>
                  </a:lnTo>
                  <a:lnTo>
                    <a:pt x="458" y="36"/>
                  </a:lnTo>
                  <a:lnTo>
                    <a:pt x="0" y="3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59" name="Freeform 201"/>
            <p:cNvSpPr>
              <a:spLocks/>
            </p:cNvSpPr>
            <p:nvPr/>
          </p:nvSpPr>
          <p:spPr bwMode="auto">
            <a:xfrm>
              <a:off x="637541" y="5023630"/>
              <a:ext cx="849313" cy="57150"/>
            </a:xfrm>
            <a:custGeom>
              <a:avLst/>
              <a:gdLst>
                <a:gd name="T0" fmla="*/ 0 w 535"/>
                <a:gd name="T1" fmla="*/ 0 h 36"/>
                <a:gd name="T2" fmla="*/ 535 w 535"/>
                <a:gd name="T3" fmla="*/ 0 h 36"/>
                <a:gd name="T4" fmla="*/ 508 w 535"/>
                <a:gd name="T5" fmla="*/ 36 h 36"/>
                <a:gd name="T6" fmla="*/ 0 w 535"/>
                <a:gd name="T7" fmla="*/ 36 h 36"/>
                <a:gd name="T8" fmla="*/ 0 w 535"/>
                <a:gd name="T9" fmla="*/ 0 h 36"/>
                <a:gd name="T10" fmla="*/ 0 w 535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5" h="36">
                  <a:moveTo>
                    <a:pt x="0" y="0"/>
                  </a:moveTo>
                  <a:lnTo>
                    <a:pt x="535" y="0"/>
                  </a:lnTo>
                  <a:lnTo>
                    <a:pt x="508" y="36"/>
                  </a:lnTo>
                  <a:lnTo>
                    <a:pt x="0" y="3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0" name="Freeform 202"/>
            <p:cNvSpPr>
              <a:spLocks/>
            </p:cNvSpPr>
            <p:nvPr/>
          </p:nvSpPr>
          <p:spPr bwMode="auto">
            <a:xfrm>
              <a:off x="637541" y="5236355"/>
              <a:ext cx="692150" cy="57150"/>
            </a:xfrm>
            <a:custGeom>
              <a:avLst/>
              <a:gdLst>
                <a:gd name="T0" fmla="*/ 0 w 436"/>
                <a:gd name="T1" fmla="*/ 0 h 36"/>
                <a:gd name="T2" fmla="*/ 436 w 436"/>
                <a:gd name="T3" fmla="*/ 0 h 36"/>
                <a:gd name="T4" fmla="*/ 410 w 436"/>
                <a:gd name="T5" fmla="*/ 36 h 36"/>
                <a:gd name="T6" fmla="*/ 0 w 436"/>
                <a:gd name="T7" fmla="*/ 36 h 36"/>
                <a:gd name="T8" fmla="*/ 0 w 436"/>
                <a:gd name="T9" fmla="*/ 0 h 36"/>
                <a:gd name="T10" fmla="*/ 0 w 436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6" h="36">
                  <a:moveTo>
                    <a:pt x="0" y="0"/>
                  </a:moveTo>
                  <a:lnTo>
                    <a:pt x="436" y="0"/>
                  </a:lnTo>
                  <a:lnTo>
                    <a:pt x="410" y="36"/>
                  </a:lnTo>
                  <a:lnTo>
                    <a:pt x="0" y="3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1" name="Freeform 203"/>
            <p:cNvSpPr>
              <a:spLocks/>
            </p:cNvSpPr>
            <p:nvPr/>
          </p:nvSpPr>
          <p:spPr bwMode="auto">
            <a:xfrm>
              <a:off x="5569904" y="5129992"/>
              <a:ext cx="768350" cy="57150"/>
            </a:xfrm>
            <a:custGeom>
              <a:avLst/>
              <a:gdLst>
                <a:gd name="T0" fmla="*/ 484 w 484"/>
                <a:gd name="T1" fmla="*/ 36 h 36"/>
                <a:gd name="T2" fmla="*/ 0 w 484"/>
                <a:gd name="T3" fmla="*/ 36 h 36"/>
                <a:gd name="T4" fmla="*/ 28 w 484"/>
                <a:gd name="T5" fmla="*/ 0 h 36"/>
                <a:gd name="T6" fmla="*/ 484 w 484"/>
                <a:gd name="T7" fmla="*/ 0 h 36"/>
                <a:gd name="T8" fmla="*/ 484 w 484"/>
                <a:gd name="T9" fmla="*/ 36 h 36"/>
                <a:gd name="T10" fmla="*/ 484 w 484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" h="36">
                  <a:moveTo>
                    <a:pt x="484" y="36"/>
                  </a:moveTo>
                  <a:lnTo>
                    <a:pt x="0" y="36"/>
                  </a:lnTo>
                  <a:lnTo>
                    <a:pt x="28" y="0"/>
                  </a:lnTo>
                  <a:lnTo>
                    <a:pt x="484" y="0"/>
                  </a:lnTo>
                  <a:lnTo>
                    <a:pt x="484" y="36"/>
                  </a:lnTo>
                  <a:lnTo>
                    <a:pt x="484" y="36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2" name="Freeform 204"/>
            <p:cNvSpPr>
              <a:spLocks/>
            </p:cNvSpPr>
            <p:nvPr/>
          </p:nvSpPr>
          <p:spPr bwMode="auto">
            <a:xfrm>
              <a:off x="5492116" y="5236355"/>
              <a:ext cx="846138" cy="57150"/>
            </a:xfrm>
            <a:custGeom>
              <a:avLst/>
              <a:gdLst>
                <a:gd name="T0" fmla="*/ 533 w 533"/>
                <a:gd name="T1" fmla="*/ 36 h 36"/>
                <a:gd name="T2" fmla="*/ 0 w 533"/>
                <a:gd name="T3" fmla="*/ 36 h 36"/>
                <a:gd name="T4" fmla="*/ 27 w 533"/>
                <a:gd name="T5" fmla="*/ 0 h 36"/>
                <a:gd name="T6" fmla="*/ 533 w 533"/>
                <a:gd name="T7" fmla="*/ 0 h 36"/>
                <a:gd name="T8" fmla="*/ 533 w 533"/>
                <a:gd name="T9" fmla="*/ 36 h 36"/>
                <a:gd name="T10" fmla="*/ 533 w 533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3" h="36">
                  <a:moveTo>
                    <a:pt x="533" y="36"/>
                  </a:moveTo>
                  <a:lnTo>
                    <a:pt x="0" y="36"/>
                  </a:lnTo>
                  <a:lnTo>
                    <a:pt x="27" y="0"/>
                  </a:lnTo>
                  <a:lnTo>
                    <a:pt x="533" y="0"/>
                  </a:lnTo>
                  <a:lnTo>
                    <a:pt x="533" y="36"/>
                  </a:lnTo>
                  <a:lnTo>
                    <a:pt x="533" y="36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3" name="Freeform 206"/>
            <p:cNvSpPr>
              <a:spLocks/>
            </p:cNvSpPr>
            <p:nvPr/>
          </p:nvSpPr>
          <p:spPr bwMode="auto">
            <a:xfrm>
              <a:off x="5649278" y="5023630"/>
              <a:ext cx="688975" cy="57150"/>
            </a:xfrm>
            <a:custGeom>
              <a:avLst/>
              <a:gdLst>
                <a:gd name="T0" fmla="*/ 26 w 434"/>
                <a:gd name="T1" fmla="*/ 0 h 36"/>
                <a:gd name="T2" fmla="*/ 434 w 434"/>
                <a:gd name="T3" fmla="*/ 0 h 36"/>
                <a:gd name="T4" fmla="*/ 434 w 434"/>
                <a:gd name="T5" fmla="*/ 36 h 36"/>
                <a:gd name="T6" fmla="*/ 0 w 434"/>
                <a:gd name="T7" fmla="*/ 36 h 36"/>
                <a:gd name="T8" fmla="*/ 26 w 434"/>
                <a:gd name="T9" fmla="*/ 0 h 36"/>
                <a:gd name="T10" fmla="*/ 26 w 434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4" h="36">
                  <a:moveTo>
                    <a:pt x="26" y="0"/>
                  </a:moveTo>
                  <a:lnTo>
                    <a:pt x="434" y="0"/>
                  </a:lnTo>
                  <a:lnTo>
                    <a:pt x="434" y="36"/>
                  </a:lnTo>
                  <a:lnTo>
                    <a:pt x="0" y="36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4" name="Freeform 207"/>
            <p:cNvSpPr>
              <a:spLocks/>
            </p:cNvSpPr>
            <p:nvPr/>
          </p:nvSpPr>
          <p:spPr bwMode="auto">
            <a:xfrm>
              <a:off x="1383666" y="4796617"/>
              <a:ext cx="1401763" cy="496888"/>
            </a:xfrm>
            <a:custGeom>
              <a:avLst/>
              <a:gdLst>
                <a:gd name="T0" fmla="*/ 0 w 516"/>
                <a:gd name="T1" fmla="*/ 183 h 183"/>
                <a:gd name="T2" fmla="*/ 135 w 516"/>
                <a:gd name="T3" fmla="*/ 0 h 183"/>
                <a:gd name="T4" fmla="*/ 302 w 516"/>
                <a:gd name="T5" fmla="*/ 0 h 183"/>
                <a:gd name="T6" fmla="*/ 311 w 516"/>
                <a:gd name="T7" fmla="*/ 19 h 183"/>
                <a:gd name="T8" fmla="*/ 277 w 516"/>
                <a:gd name="T9" fmla="*/ 66 h 183"/>
                <a:gd name="T10" fmla="*/ 292 w 516"/>
                <a:gd name="T11" fmla="*/ 84 h 183"/>
                <a:gd name="T12" fmla="*/ 516 w 516"/>
                <a:gd name="T13" fmla="*/ 84 h 183"/>
                <a:gd name="T14" fmla="*/ 329 w 516"/>
                <a:gd name="T15" fmla="*/ 183 h 183"/>
                <a:gd name="T16" fmla="*/ 0 w 516"/>
                <a:gd name="T17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6" h="183">
                  <a:moveTo>
                    <a:pt x="0" y="183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35" y="0"/>
                    <a:pt x="284" y="0"/>
                    <a:pt x="302" y="0"/>
                  </a:cubicBezTo>
                  <a:cubicBezTo>
                    <a:pt x="321" y="0"/>
                    <a:pt x="320" y="7"/>
                    <a:pt x="311" y="19"/>
                  </a:cubicBezTo>
                  <a:cubicBezTo>
                    <a:pt x="302" y="32"/>
                    <a:pt x="286" y="53"/>
                    <a:pt x="277" y="66"/>
                  </a:cubicBezTo>
                  <a:cubicBezTo>
                    <a:pt x="272" y="72"/>
                    <a:pt x="264" y="84"/>
                    <a:pt x="292" y="84"/>
                  </a:cubicBezTo>
                  <a:cubicBezTo>
                    <a:pt x="322" y="84"/>
                    <a:pt x="516" y="84"/>
                    <a:pt x="516" y="84"/>
                  </a:cubicBezTo>
                  <a:cubicBezTo>
                    <a:pt x="498" y="109"/>
                    <a:pt x="437" y="183"/>
                    <a:pt x="329" y="183"/>
                  </a:cubicBezTo>
                  <a:cubicBezTo>
                    <a:pt x="241" y="183"/>
                    <a:pt x="0" y="183"/>
                    <a:pt x="0" y="183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5" name="Freeform 208"/>
            <p:cNvSpPr>
              <a:spLocks/>
            </p:cNvSpPr>
            <p:nvPr/>
          </p:nvSpPr>
          <p:spPr bwMode="auto">
            <a:xfrm>
              <a:off x="2758441" y="5023630"/>
              <a:ext cx="722313" cy="269875"/>
            </a:xfrm>
            <a:custGeom>
              <a:avLst/>
              <a:gdLst>
                <a:gd name="T0" fmla="*/ 266 w 266"/>
                <a:gd name="T1" fmla="*/ 0 h 99"/>
                <a:gd name="T2" fmla="*/ 193 w 266"/>
                <a:gd name="T3" fmla="*/ 99 h 99"/>
                <a:gd name="T4" fmla="*/ 0 w 266"/>
                <a:gd name="T5" fmla="*/ 99 h 99"/>
                <a:gd name="T6" fmla="*/ 73 w 266"/>
                <a:gd name="T7" fmla="*/ 0 h 99"/>
                <a:gd name="T8" fmla="*/ 266 w 266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6" h="99">
                  <a:moveTo>
                    <a:pt x="266" y="0"/>
                  </a:moveTo>
                  <a:cubicBezTo>
                    <a:pt x="193" y="99"/>
                    <a:pt x="193" y="99"/>
                    <a:pt x="193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9"/>
                    <a:pt x="73" y="0"/>
                    <a:pt x="73" y="0"/>
                  </a:cubicBezTo>
                  <a:cubicBezTo>
                    <a:pt x="266" y="0"/>
                    <a:pt x="266" y="0"/>
                    <a:pt x="266" y="0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6" name="Freeform 209"/>
            <p:cNvSpPr>
              <a:spLocks/>
            </p:cNvSpPr>
            <p:nvPr/>
          </p:nvSpPr>
          <p:spPr bwMode="auto">
            <a:xfrm>
              <a:off x="3515678" y="5023630"/>
              <a:ext cx="722313" cy="269875"/>
            </a:xfrm>
            <a:custGeom>
              <a:avLst/>
              <a:gdLst>
                <a:gd name="T0" fmla="*/ 266 w 266"/>
                <a:gd name="T1" fmla="*/ 0 h 99"/>
                <a:gd name="T2" fmla="*/ 193 w 266"/>
                <a:gd name="T3" fmla="*/ 99 h 99"/>
                <a:gd name="T4" fmla="*/ 0 w 266"/>
                <a:gd name="T5" fmla="*/ 99 h 99"/>
                <a:gd name="T6" fmla="*/ 73 w 266"/>
                <a:gd name="T7" fmla="*/ 0 h 99"/>
                <a:gd name="T8" fmla="*/ 266 w 266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6" h="99">
                  <a:moveTo>
                    <a:pt x="266" y="0"/>
                  </a:moveTo>
                  <a:cubicBezTo>
                    <a:pt x="193" y="99"/>
                    <a:pt x="193" y="99"/>
                    <a:pt x="193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9"/>
                    <a:pt x="73" y="0"/>
                    <a:pt x="73" y="0"/>
                  </a:cubicBezTo>
                  <a:cubicBezTo>
                    <a:pt x="266" y="0"/>
                    <a:pt x="266" y="0"/>
                    <a:pt x="266" y="0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7" name="Freeform 210"/>
            <p:cNvSpPr>
              <a:spLocks/>
            </p:cNvSpPr>
            <p:nvPr/>
          </p:nvSpPr>
          <p:spPr bwMode="auto">
            <a:xfrm>
              <a:off x="4284028" y="5023630"/>
              <a:ext cx="1311275" cy="269875"/>
            </a:xfrm>
            <a:custGeom>
              <a:avLst/>
              <a:gdLst>
                <a:gd name="T0" fmla="*/ 45 w 483"/>
                <a:gd name="T1" fmla="*/ 0 h 99"/>
                <a:gd name="T2" fmla="*/ 24 w 483"/>
                <a:gd name="T3" fmla="*/ 28 h 99"/>
                <a:gd name="T4" fmla="*/ 101 w 483"/>
                <a:gd name="T5" fmla="*/ 99 h 99"/>
                <a:gd name="T6" fmla="*/ 410 w 483"/>
                <a:gd name="T7" fmla="*/ 99 h 99"/>
                <a:gd name="T8" fmla="*/ 483 w 483"/>
                <a:gd name="T9" fmla="*/ 0 h 99"/>
                <a:gd name="T10" fmla="*/ 45 w 483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3" h="99">
                  <a:moveTo>
                    <a:pt x="45" y="0"/>
                  </a:moveTo>
                  <a:cubicBezTo>
                    <a:pt x="45" y="0"/>
                    <a:pt x="31" y="19"/>
                    <a:pt x="24" y="28"/>
                  </a:cubicBezTo>
                  <a:cubicBezTo>
                    <a:pt x="0" y="61"/>
                    <a:pt x="22" y="99"/>
                    <a:pt x="101" y="99"/>
                  </a:cubicBezTo>
                  <a:cubicBezTo>
                    <a:pt x="192" y="99"/>
                    <a:pt x="410" y="99"/>
                    <a:pt x="410" y="99"/>
                  </a:cubicBezTo>
                  <a:cubicBezTo>
                    <a:pt x="483" y="0"/>
                    <a:pt x="483" y="0"/>
                    <a:pt x="483" y="0"/>
                  </a:cubicBezTo>
                  <a:cubicBezTo>
                    <a:pt x="45" y="0"/>
                    <a:pt x="45" y="0"/>
                    <a:pt x="45" y="0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8" name="Freeform 211"/>
            <p:cNvSpPr>
              <a:spLocks/>
            </p:cNvSpPr>
            <p:nvPr/>
          </p:nvSpPr>
          <p:spPr bwMode="auto">
            <a:xfrm>
              <a:off x="1458278" y="4487055"/>
              <a:ext cx="1568450" cy="474663"/>
            </a:xfrm>
            <a:custGeom>
              <a:avLst/>
              <a:gdLst>
                <a:gd name="T0" fmla="*/ 67 w 578"/>
                <a:gd name="T1" fmla="*/ 0 h 175"/>
                <a:gd name="T2" fmla="*/ 0 w 578"/>
                <a:gd name="T3" fmla="*/ 91 h 175"/>
                <a:gd name="T4" fmla="*/ 366 w 578"/>
                <a:gd name="T5" fmla="*/ 91 h 175"/>
                <a:gd name="T6" fmla="*/ 375 w 578"/>
                <a:gd name="T7" fmla="*/ 110 h 175"/>
                <a:gd name="T8" fmla="*/ 341 w 578"/>
                <a:gd name="T9" fmla="*/ 157 h 175"/>
                <a:gd name="T10" fmla="*/ 356 w 578"/>
                <a:gd name="T11" fmla="*/ 175 h 175"/>
                <a:gd name="T12" fmla="*/ 506 w 578"/>
                <a:gd name="T13" fmla="*/ 175 h 175"/>
                <a:gd name="T14" fmla="*/ 550 w 578"/>
                <a:gd name="T15" fmla="*/ 115 h 175"/>
                <a:gd name="T16" fmla="*/ 454 w 578"/>
                <a:gd name="T17" fmla="*/ 0 h 175"/>
                <a:gd name="T18" fmla="*/ 67 w 578"/>
                <a:gd name="T1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8" h="175">
                  <a:moveTo>
                    <a:pt x="67" y="0"/>
                  </a:moveTo>
                  <a:cubicBezTo>
                    <a:pt x="0" y="91"/>
                    <a:pt x="0" y="91"/>
                    <a:pt x="0" y="91"/>
                  </a:cubicBezTo>
                  <a:cubicBezTo>
                    <a:pt x="0" y="91"/>
                    <a:pt x="348" y="91"/>
                    <a:pt x="366" y="91"/>
                  </a:cubicBezTo>
                  <a:cubicBezTo>
                    <a:pt x="384" y="91"/>
                    <a:pt x="384" y="98"/>
                    <a:pt x="375" y="110"/>
                  </a:cubicBezTo>
                  <a:cubicBezTo>
                    <a:pt x="366" y="123"/>
                    <a:pt x="351" y="145"/>
                    <a:pt x="341" y="157"/>
                  </a:cubicBezTo>
                  <a:cubicBezTo>
                    <a:pt x="336" y="164"/>
                    <a:pt x="328" y="175"/>
                    <a:pt x="356" y="175"/>
                  </a:cubicBezTo>
                  <a:cubicBezTo>
                    <a:pt x="386" y="175"/>
                    <a:pt x="506" y="175"/>
                    <a:pt x="506" y="175"/>
                  </a:cubicBezTo>
                  <a:cubicBezTo>
                    <a:pt x="506" y="175"/>
                    <a:pt x="530" y="142"/>
                    <a:pt x="550" y="115"/>
                  </a:cubicBezTo>
                  <a:cubicBezTo>
                    <a:pt x="578" y="78"/>
                    <a:pt x="553" y="0"/>
                    <a:pt x="454" y="0"/>
                  </a:cubicBezTo>
                  <a:cubicBezTo>
                    <a:pt x="366" y="0"/>
                    <a:pt x="67" y="0"/>
                    <a:pt x="67" y="0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9" name="Freeform 212"/>
            <p:cNvSpPr>
              <a:spLocks/>
            </p:cNvSpPr>
            <p:nvPr/>
          </p:nvSpPr>
          <p:spPr bwMode="auto">
            <a:xfrm>
              <a:off x="3002916" y="4487055"/>
              <a:ext cx="1628775" cy="474663"/>
            </a:xfrm>
            <a:custGeom>
              <a:avLst/>
              <a:gdLst>
                <a:gd name="T0" fmla="*/ 805 w 1026"/>
                <a:gd name="T1" fmla="*/ 299 h 299"/>
                <a:gd name="T2" fmla="*/ 0 w 1026"/>
                <a:gd name="T3" fmla="*/ 299 h 299"/>
                <a:gd name="T4" fmla="*/ 220 w 1026"/>
                <a:gd name="T5" fmla="*/ 0 h 299"/>
                <a:gd name="T6" fmla="*/ 549 w 1026"/>
                <a:gd name="T7" fmla="*/ 0 h 299"/>
                <a:gd name="T8" fmla="*/ 422 w 1026"/>
                <a:gd name="T9" fmla="*/ 171 h 299"/>
                <a:gd name="T10" fmla="*/ 569 w 1026"/>
                <a:gd name="T11" fmla="*/ 171 h 299"/>
                <a:gd name="T12" fmla="*/ 696 w 1026"/>
                <a:gd name="T13" fmla="*/ 0 h 299"/>
                <a:gd name="T14" fmla="*/ 1026 w 1026"/>
                <a:gd name="T15" fmla="*/ 0 h 299"/>
                <a:gd name="T16" fmla="*/ 805 w 1026"/>
                <a:gd name="T17" fmla="*/ 299 h 299"/>
                <a:gd name="T18" fmla="*/ 805 w 1026"/>
                <a:gd name="T19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6" h="299">
                  <a:moveTo>
                    <a:pt x="805" y="299"/>
                  </a:moveTo>
                  <a:lnTo>
                    <a:pt x="0" y="299"/>
                  </a:lnTo>
                  <a:lnTo>
                    <a:pt x="220" y="0"/>
                  </a:lnTo>
                  <a:lnTo>
                    <a:pt x="549" y="0"/>
                  </a:lnTo>
                  <a:lnTo>
                    <a:pt x="422" y="171"/>
                  </a:lnTo>
                  <a:lnTo>
                    <a:pt x="569" y="171"/>
                  </a:lnTo>
                  <a:lnTo>
                    <a:pt x="696" y="0"/>
                  </a:lnTo>
                  <a:lnTo>
                    <a:pt x="1026" y="0"/>
                  </a:lnTo>
                  <a:lnTo>
                    <a:pt x="805" y="299"/>
                  </a:lnTo>
                  <a:lnTo>
                    <a:pt x="805" y="299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70" name="Freeform 213"/>
            <p:cNvSpPr>
              <a:spLocks/>
            </p:cNvSpPr>
            <p:nvPr/>
          </p:nvSpPr>
          <p:spPr bwMode="auto">
            <a:xfrm>
              <a:off x="4452303" y="4487055"/>
              <a:ext cx="903288" cy="474663"/>
            </a:xfrm>
            <a:custGeom>
              <a:avLst/>
              <a:gdLst>
                <a:gd name="T0" fmla="*/ 333 w 333"/>
                <a:gd name="T1" fmla="*/ 0 h 175"/>
                <a:gd name="T2" fmla="*/ 204 w 333"/>
                <a:gd name="T3" fmla="*/ 175 h 175"/>
                <a:gd name="T4" fmla="*/ 0 w 333"/>
                <a:gd name="T5" fmla="*/ 175 h 175"/>
                <a:gd name="T6" fmla="*/ 129 w 333"/>
                <a:gd name="T7" fmla="*/ 0 h 175"/>
                <a:gd name="T8" fmla="*/ 333 w 333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3" h="175">
                  <a:moveTo>
                    <a:pt x="333" y="0"/>
                  </a:moveTo>
                  <a:cubicBezTo>
                    <a:pt x="204" y="175"/>
                    <a:pt x="204" y="175"/>
                    <a:pt x="204" y="17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75"/>
                    <a:pt x="129" y="0"/>
                    <a:pt x="129" y="0"/>
                  </a:cubicBezTo>
                  <a:cubicBezTo>
                    <a:pt x="333" y="0"/>
                    <a:pt x="333" y="0"/>
                    <a:pt x="333" y="0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</p:grpSp>
      <p:sp>
        <p:nvSpPr>
          <p:cNvPr id="71" name="Oval 70"/>
          <p:cNvSpPr>
            <a:spLocks noChangeAspect="1"/>
          </p:cNvSpPr>
          <p:nvPr userDrawn="1"/>
        </p:nvSpPr>
        <p:spPr>
          <a:xfrm>
            <a:off x="387607" y="3422419"/>
            <a:ext cx="564172" cy="56417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152400">
              <a:srgbClr val="FFCC00">
                <a:alpha val="8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pic>
        <p:nvPicPr>
          <p:cNvPr id="72" name="Picture 7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322" y="3439558"/>
            <a:ext cx="510847" cy="510847"/>
          </a:xfrm>
          <a:prstGeom prst="rect">
            <a:avLst/>
          </a:prstGeom>
        </p:spPr>
      </p:pic>
      <p:sp>
        <p:nvSpPr>
          <p:cNvPr id="73" name="Oval 72"/>
          <p:cNvSpPr>
            <a:spLocks noChangeAspect="1"/>
          </p:cNvSpPr>
          <p:nvPr userDrawn="1"/>
        </p:nvSpPr>
        <p:spPr>
          <a:xfrm>
            <a:off x="383211" y="2413691"/>
            <a:ext cx="564172" cy="56417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152400">
              <a:srgbClr val="FFCC00">
                <a:alpha val="8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pic>
        <p:nvPicPr>
          <p:cNvPr id="74" name="Picture 73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950" y="2499238"/>
            <a:ext cx="428695" cy="428695"/>
          </a:xfrm>
          <a:prstGeom prst="rect">
            <a:avLst/>
          </a:prstGeom>
          <a:ln>
            <a:noFill/>
          </a:ln>
        </p:spPr>
      </p:pic>
      <p:sp>
        <p:nvSpPr>
          <p:cNvPr id="75" name="Oval 74"/>
          <p:cNvSpPr>
            <a:spLocks noChangeAspect="1"/>
          </p:cNvSpPr>
          <p:nvPr userDrawn="1"/>
        </p:nvSpPr>
        <p:spPr>
          <a:xfrm>
            <a:off x="383211" y="1415775"/>
            <a:ext cx="564172" cy="56417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152400">
              <a:srgbClr val="FFCC00">
                <a:alpha val="8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748" y="1416833"/>
            <a:ext cx="561931" cy="561931"/>
          </a:xfrm>
          <a:prstGeom prst="rect">
            <a:avLst/>
          </a:prstGeom>
        </p:spPr>
      </p:pic>
      <p:sp>
        <p:nvSpPr>
          <p:cNvPr id="77" name="Oval 76"/>
          <p:cNvSpPr>
            <a:spLocks noChangeAspect="1"/>
          </p:cNvSpPr>
          <p:nvPr userDrawn="1"/>
        </p:nvSpPr>
        <p:spPr>
          <a:xfrm>
            <a:off x="375773" y="434943"/>
            <a:ext cx="564172" cy="56417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152400">
              <a:srgbClr val="FFCC00">
                <a:alpha val="8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pic>
        <p:nvPicPr>
          <p:cNvPr id="78" name="Picture 77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771" y="444223"/>
            <a:ext cx="540604" cy="540604"/>
          </a:xfrm>
          <a:prstGeom prst="rect">
            <a:avLst/>
          </a:prstGeom>
        </p:spPr>
      </p:pic>
      <p:sp>
        <p:nvSpPr>
          <p:cNvPr id="30" name="Footer Placeholder 1"/>
          <p:cNvSpPr>
            <a:spLocks noGrp="1"/>
          </p:cNvSpPr>
          <p:nvPr>
            <p:ph type="ftr" sz="quarter" idx="31"/>
          </p:nvPr>
        </p:nvSpPr>
        <p:spPr>
          <a:xfrm>
            <a:off x="3553570" y="6407724"/>
            <a:ext cx="7918767" cy="354261"/>
          </a:xfrm>
          <a:prstGeom prst="rect">
            <a:avLst/>
          </a:prstGeom>
        </p:spPr>
        <p:txBody>
          <a:bodyPr/>
          <a:lstStyle>
            <a:lvl1pPr algn="r">
              <a:defRPr sz="1200" b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11695287" y="6558854"/>
            <a:ext cx="187552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667"/>
              </a:spcAft>
            </a:pPr>
            <a:fld id="{CEF2E207-69D8-4FD3-ABFB-D83C401EDFE1}" type="slidenum">
              <a:rPr lang="en-US" sz="1200" smtClean="0">
                <a:solidFill>
                  <a:schemeClr val="accent2"/>
                </a:solidFill>
              </a:rPr>
              <a:pPr>
                <a:lnSpc>
                  <a:spcPct val="110000"/>
                </a:lnSpc>
                <a:spcAft>
                  <a:spcPts val="667"/>
                </a:spcAft>
              </a:pPr>
              <a:t>‹#›</a:t>
            </a:fld>
            <a:endParaRPr lang="en-US" sz="16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4658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2065DEA-8556-48E5-9A2A-91E3DC439C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04" name="think-cell Slide" r:id="rId5" imgW="352" imgH="353" progId="TCLayout.ActiveDocument.1">
                  <p:embed/>
                </p:oleObj>
              </mc:Choice>
              <mc:Fallback>
                <p:oleObj name="think-cell Slide" r:id="rId5" imgW="352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2065DEA-8556-48E5-9A2A-91E3DC439C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7639673-2015-476F-84FC-CB2803584C8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211667" cy="15875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551999" y="1249200"/>
            <a:ext cx="11088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>
                <a:latin typeface="+mn-lt"/>
                <a:sym typeface="Delivery" panose="020F0503020204020204" pitchFamily="34" charset="0"/>
              </a:defRPr>
            </a:lvl1pPr>
            <a:lvl2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>
                <a:latin typeface="+mn-lt"/>
                <a:sym typeface="Delivery" panose="020F0503020204020204" pitchFamily="34" charset="0"/>
              </a:defRPr>
            </a:lvl2pPr>
            <a:lvl3pPr marL="179996" marR="0" indent="-1799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59991" marR="0" indent="-1799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387" marR="0" indent="-174621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552000" y="1015200"/>
            <a:ext cx="11088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1"/>
          <p:cNvSpPr/>
          <p:nvPr userDrawn="1"/>
        </p:nvSpPr>
        <p:spPr bwMode="hidden">
          <a:xfrm>
            <a:off x="239184" y="5952327"/>
            <a:ext cx="5761504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2" name="Rechteck 8"/>
          <p:cNvSpPr/>
          <p:nvPr userDrawn="1"/>
        </p:nvSpPr>
        <p:spPr bwMode="gray">
          <a:xfrm>
            <a:off x="11160000" y="6225003"/>
            <a:ext cx="483816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sym typeface="Delivery" panose="020F0503020204020204" pitchFamily="34" charset="0"/>
              </a:rPr>
              <a:pPr marL="0" marR="0" indent="0" algn="r" defTabSz="9953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15" name="Grafik 12">
            <a:extLst>
              <a:ext uri="{FF2B5EF4-FFF2-40B4-BE49-F238E27FC236}">
                <a16:creationId xmlns:a16="http://schemas.microsoft.com/office/drawing/2014/main" id="{0355B723-67C3-43DD-B2B1-3C84E95DA20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52002" y="6278379"/>
            <a:ext cx="1702911" cy="19019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/>
          <a:srcRect t="91335"/>
          <a:stretch/>
        </p:blipFill>
        <p:spPr>
          <a:xfrm>
            <a:off x="5966907" y="6083453"/>
            <a:ext cx="6049212" cy="594255"/>
          </a:xfrm>
          <a:prstGeom prst="rect">
            <a:avLst/>
          </a:prstGeom>
        </p:spPr>
      </p:pic>
      <p:sp>
        <p:nvSpPr>
          <p:cNvPr id="1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856000" y="6216575"/>
            <a:ext cx="8304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Robotics Hub Introduction | Accelerated Digitalization | BY CoE | April 2021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25834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CC54D76-52BE-4958-8E9F-49D56CCD05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24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CC54D76-52BE-4958-8E9F-49D56CCD0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E67424-2D29-4257-A62A-2C0781F9F78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/>
          </p:nvPr>
        </p:nvSpPr>
        <p:spPr bwMode="gray">
          <a:xfrm>
            <a:off x="551999" y="1458545"/>
            <a:ext cx="5400000" cy="2678400"/>
          </a:xfrm>
          <a:prstGeom prst="rect">
            <a:avLst/>
          </a:prstGeom>
        </p:spPr>
        <p:txBody>
          <a:bodyPr lIns="0" tIns="0" rIns="0" bIns="0"/>
          <a:lstStyle>
            <a:lvl1pPr marL="355591" marR="0" indent="-355591" algn="l" defTabSz="1219170" rtl="0" eaLnBrk="1" fontAlgn="auto" latinLnBrk="0" hangingPunct="1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6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591" marR="0" indent="0" algn="l" defTabSz="1219170" rtl="0" eaLnBrk="1" fontAlgn="auto" latinLnBrk="0" hangingPunct="1">
              <a:lnSpc>
                <a:spcPct val="100000"/>
              </a:lnSpc>
              <a:spcAft>
                <a:spcPts val="667"/>
              </a:spcAft>
              <a:buClrTx/>
              <a:buSzTx/>
              <a:buFontTx/>
              <a:buNone/>
              <a:tabLst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514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40200" y="4186700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7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736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360200" y="4186700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7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958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80200" y="4186700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7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>
          <a:xfrm>
            <a:off x="552000" y="254530"/>
            <a:ext cx="8502696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33" name="Textfeld 32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0" name="Rechteck 5">
            <a:extLst>
              <a:ext uri="{FF2B5EF4-FFF2-40B4-BE49-F238E27FC236}">
                <a16:creationId xmlns:a16="http://schemas.microsoft.com/office/drawing/2014/main" id="{D734060B-2F4F-964D-A93A-15D61CC85C67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0912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cc –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03D961C-85E5-4817-A147-B2D8A18D64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2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03D961C-85E5-4817-A147-B2D8A18D64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01BB0BC-DFF8-4DE1-AA4A-71DBDB13DBF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933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8F0D80E-3A10-497F-979D-C19F8A770A30}"/>
              </a:ext>
            </a:extLst>
          </p:cNvPr>
          <p:cNvGrpSpPr/>
          <p:nvPr userDrawn="1"/>
        </p:nvGrpSpPr>
        <p:grpSpPr>
          <a:xfrm>
            <a:off x="4909" y="-16057"/>
            <a:ext cx="12190265" cy="6860736"/>
            <a:chOff x="3681" y="-12043"/>
            <a:chExt cx="9142699" cy="5145552"/>
          </a:xfrm>
        </p:grpSpPr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E381B39D-BF91-4AA3-9D2E-F3710B2A6F5B}"/>
                </a:ext>
              </a:extLst>
            </p:cNvPr>
            <p:cNvSpPr/>
            <p:nvPr userDrawn="1"/>
          </p:nvSpPr>
          <p:spPr bwMode="auto">
            <a:xfrm>
              <a:off x="4572000" y="-12043"/>
              <a:ext cx="4574380" cy="5143500"/>
            </a:xfrm>
            <a:prstGeom prst="rect">
              <a:avLst/>
            </a:prstGeom>
            <a:gradFill flip="none" rotWithShape="1">
              <a:gsLst>
                <a:gs pos="0">
                  <a:srgbClr val="FFF5CC">
                    <a:alpha val="50000"/>
                  </a:srgbClr>
                </a:gs>
                <a:gs pos="43000">
                  <a:srgbClr val="FFF5CC">
                    <a:alpha val="10000"/>
                  </a:srgbClr>
                </a:gs>
                <a:gs pos="83000">
                  <a:srgbClr val="FFF5CC">
                    <a:alpha val="10000"/>
                  </a:srgbClr>
                </a:gs>
                <a:gs pos="100000">
                  <a:srgbClr val="FFF5CC">
                    <a:alpha val="10000"/>
                  </a:srgbClr>
                </a:gs>
              </a:gsLst>
              <a:lin ang="135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  <a:sym typeface="Delivery" panose="020F0503020204020204" pitchFamily="34" charset="0"/>
              </a:endParaRPr>
            </a:p>
          </p:txBody>
        </p:sp>
        <p:sp>
          <p:nvSpPr>
            <p:cNvPr id="18" name="Rectangle 63">
              <a:extLst>
                <a:ext uri="{FF2B5EF4-FFF2-40B4-BE49-F238E27FC236}">
                  <a16:creationId xmlns:a16="http://schemas.microsoft.com/office/drawing/2014/main" id="{B2B11A80-8CA0-40B6-B5B2-1D0B7CB7488F}"/>
                </a:ext>
              </a:extLst>
            </p:cNvPr>
            <p:cNvSpPr/>
            <p:nvPr userDrawn="1"/>
          </p:nvSpPr>
          <p:spPr bwMode="auto">
            <a:xfrm rot="10800000">
              <a:off x="3681" y="-9991"/>
              <a:ext cx="4568317" cy="5143500"/>
            </a:xfrm>
            <a:prstGeom prst="rect">
              <a:avLst/>
            </a:prstGeom>
            <a:gradFill flip="none" rotWithShape="1">
              <a:gsLst>
                <a:gs pos="0">
                  <a:srgbClr val="FFF5CC">
                    <a:alpha val="50000"/>
                  </a:srgbClr>
                </a:gs>
                <a:gs pos="43000">
                  <a:srgbClr val="FFF5CC">
                    <a:alpha val="10000"/>
                  </a:srgbClr>
                </a:gs>
                <a:gs pos="83000">
                  <a:srgbClr val="FFF5CC">
                    <a:alpha val="10000"/>
                  </a:srgbClr>
                </a:gs>
                <a:gs pos="100000">
                  <a:srgbClr val="FFF5CC">
                    <a:alpha val="10000"/>
                  </a:srgbClr>
                </a:gs>
              </a:gsLst>
              <a:lin ang="135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  <a:sym typeface="Delivery" panose="020F0503020204020204" pitchFamily="34" charset="0"/>
              </a:endParaRPr>
            </a:p>
          </p:txBody>
        </p:sp>
      </p:grpSp>
      <p:sp>
        <p:nvSpPr>
          <p:cNvPr id="22" name="Freeform: Shape 23">
            <a:extLst>
              <a:ext uri="{FF2B5EF4-FFF2-40B4-BE49-F238E27FC236}">
                <a16:creationId xmlns:a16="http://schemas.microsoft.com/office/drawing/2014/main" id="{FA890300-2BD9-4D57-BCF8-E710A494C61D}"/>
              </a:ext>
            </a:extLst>
          </p:cNvPr>
          <p:cNvSpPr/>
          <p:nvPr userDrawn="1"/>
        </p:nvSpPr>
        <p:spPr bwMode="auto">
          <a:xfrm rot="10800000">
            <a:off x="0" y="-10149"/>
            <a:ext cx="4368800" cy="535733"/>
          </a:xfrm>
          <a:custGeom>
            <a:avLst/>
            <a:gdLst>
              <a:gd name="connsiteX0" fmla="*/ 985807 w 3276600"/>
              <a:gd name="connsiteY0" fmla="*/ 0 h 955498"/>
              <a:gd name="connsiteX1" fmla="*/ 3276600 w 3276600"/>
              <a:gd name="connsiteY1" fmla="*/ 0 h 955498"/>
              <a:gd name="connsiteX2" fmla="*/ 3276600 w 3276600"/>
              <a:gd name="connsiteY2" fmla="*/ 955498 h 955498"/>
              <a:gd name="connsiteX3" fmla="*/ 0 w 3276600"/>
              <a:gd name="connsiteY3" fmla="*/ 955498 h 955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76600" h="955498">
                <a:moveTo>
                  <a:pt x="985807" y="0"/>
                </a:moveTo>
                <a:lnTo>
                  <a:pt x="3276600" y="0"/>
                </a:lnTo>
                <a:lnTo>
                  <a:pt x="3276600" y="955498"/>
                </a:lnTo>
                <a:lnTo>
                  <a:pt x="0" y="955498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381000">
              <a:srgbClr val="FFF5CC">
                <a:alpha val="20000"/>
              </a:srgb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3" name="Freeform: Shape 25">
            <a:extLst>
              <a:ext uri="{FF2B5EF4-FFF2-40B4-BE49-F238E27FC236}">
                <a16:creationId xmlns:a16="http://schemas.microsoft.com/office/drawing/2014/main" id="{EA874D12-318D-403B-81C8-8EAEF6AF48DB}"/>
              </a:ext>
            </a:extLst>
          </p:cNvPr>
          <p:cNvSpPr/>
          <p:nvPr userDrawn="1"/>
        </p:nvSpPr>
        <p:spPr bwMode="auto">
          <a:xfrm>
            <a:off x="9208133" y="5704411"/>
            <a:ext cx="2997200" cy="1163763"/>
          </a:xfrm>
          <a:custGeom>
            <a:avLst/>
            <a:gdLst>
              <a:gd name="connsiteX0" fmla="*/ 985807 w 3276600"/>
              <a:gd name="connsiteY0" fmla="*/ 0 h 955498"/>
              <a:gd name="connsiteX1" fmla="*/ 3276600 w 3276600"/>
              <a:gd name="connsiteY1" fmla="*/ 0 h 955498"/>
              <a:gd name="connsiteX2" fmla="*/ 3276600 w 3276600"/>
              <a:gd name="connsiteY2" fmla="*/ 955498 h 955498"/>
              <a:gd name="connsiteX3" fmla="*/ 0 w 3276600"/>
              <a:gd name="connsiteY3" fmla="*/ 955498 h 955498"/>
              <a:gd name="connsiteX0" fmla="*/ 985807 w 3276600"/>
              <a:gd name="connsiteY0" fmla="*/ 0 h 955498"/>
              <a:gd name="connsiteX1" fmla="*/ 3276600 w 3276600"/>
              <a:gd name="connsiteY1" fmla="*/ 0 h 955498"/>
              <a:gd name="connsiteX2" fmla="*/ 2286000 w 3276600"/>
              <a:gd name="connsiteY2" fmla="*/ 945973 h 955498"/>
              <a:gd name="connsiteX3" fmla="*/ 0 w 3276600"/>
              <a:gd name="connsiteY3" fmla="*/ 955498 h 955498"/>
              <a:gd name="connsiteX4" fmla="*/ 985807 w 3276600"/>
              <a:gd name="connsiteY4" fmla="*/ 0 h 955498"/>
              <a:gd name="connsiteX0" fmla="*/ 985807 w 2286000"/>
              <a:gd name="connsiteY0" fmla="*/ 9525 h 965023"/>
              <a:gd name="connsiteX1" fmla="*/ 2247900 w 2286000"/>
              <a:gd name="connsiteY1" fmla="*/ 0 h 965023"/>
              <a:gd name="connsiteX2" fmla="*/ 2286000 w 2286000"/>
              <a:gd name="connsiteY2" fmla="*/ 955498 h 965023"/>
              <a:gd name="connsiteX3" fmla="*/ 0 w 2286000"/>
              <a:gd name="connsiteY3" fmla="*/ 965023 h 965023"/>
              <a:gd name="connsiteX4" fmla="*/ 985807 w 2286000"/>
              <a:gd name="connsiteY4" fmla="*/ 9525 h 965023"/>
              <a:gd name="connsiteX0" fmla="*/ 985807 w 2286000"/>
              <a:gd name="connsiteY0" fmla="*/ 4762 h 960260"/>
              <a:gd name="connsiteX1" fmla="*/ 2247900 w 2286000"/>
              <a:gd name="connsiteY1" fmla="*/ 0 h 960260"/>
              <a:gd name="connsiteX2" fmla="*/ 2286000 w 2286000"/>
              <a:gd name="connsiteY2" fmla="*/ 950735 h 960260"/>
              <a:gd name="connsiteX3" fmla="*/ 0 w 2286000"/>
              <a:gd name="connsiteY3" fmla="*/ 960260 h 960260"/>
              <a:gd name="connsiteX4" fmla="*/ 985807 w 2286000"/>
              <a:gd name="connsiteY4" fmla="*/ 4762 h 960260"/>
              <a:gd name="connsiteX0" fmla="*/ 985807 w 2247900"/>
              <a:gd name="connsiteY0" fmla="*/ 4762 h 960260"/>
              <a:gd name="connsiteX1" fmla="*/ 2247900 w 2247900"/>
              <a:gd name="connsiteY1" fmla="*/ 0 h 960260"/>
              <a:gd name="connsiteX2" fmla="*/ 2062163 w 2247900"/>
              <a:gd name="connsiteY2" fmla="*/ 938828 h 960260"/>
              <a:gd name="connsiteX3" fmla="*/ 0 w 2247900"/>
              <a:gd name="connsiteY3" fmla="*/ 960260 h 960260"/>
              <a:gd name="connsiteX4" fmla="*/ 985807 w 2247900"/>
              <a:gd name="connsiteY4" fmla="*/ 4762 h 960260"/>
              <a:gd name="connsiteX0" fmla="*/ 985807 w 2247900"/>
              <a:gd name="connsiteY0" fmla="*/ 4762 h 960260"/>
              <a:gd name="connsiteX1" fmla="*/ 2247900 w 2247900"/>
              <a:gd name="connsiteY1" fmla="*/ 0 h 960260"/>
              <a:gd name="connsiteX2" fmla="*/ 2243138 w 2247900"/>
              <a:gd name="connsiteY2" fmla="*/ 953115 h 960260"/>
              <a:gd name="connsiteX3" fmla="*/ 0 w 2247900"/>
              <a:gd name="connsiteY3" fmla="*/ 960260 h 960260"/>
              <a:gd name="connsiteX4" fmla="*/ 985807 w 2247900"/>
              <a:gd name="connsiteY4" fmla="*/ 4762 h 96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7900" h="960260">
                <a:moveTo>
                  <a:pt x="985807" y="4762"/>
                </a:moveTo>
                <a:lnTo>
                  <a:pt x="2247900" y="0"/>
                </a:lnTo>
                <a:cubicBezTo>
                  <a:pt x="2246313" y="317705"/>
                  <a:pt x="2244725" y="635410"/>
                  <a:pt x="2243138" y="953115"/>
                </a:cubicBezTo>
                <a:lnTo>
                  <a:pt x="0" y="960260"/>
                </a:lnTo>
                <a:lnTo>
                  <a:pt x="985807" y="4762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381000">
              <a:srgbClr val="FFF5CC">
                <a:alpha val="20000"/>
              </a:srgb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1039472" y="6407409"/>
            <a:ext cx="8375281" cy="208259"/>
          </a:xfrm>
        </p:spPr>
        <p:txBody>
          <a:bodyPr lIns="72000"/>
          <a:lstStyle>
            <a:lvl1pPr algn="l">
              <a:defRPr>
                <a:solidFill>
                  <a:schemeClr val="accent2"/>
                </a:solidFill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Robotics Hub Introduction | Accelerated Digitalization | BY CoE | April 2021</a:t>
            </a:r>
            <a:endParaRPr lang="de-DE" dirty="0"/>
          </a:p>
        </p:txBody>
      </p:sp>
      <p:sp>
        <p:nvSpPr>
          <p:cNvPr id="52" name="Textfeld 14">
            <a:extLst>
              <a:ext uri="{FF2B5EF4-FFF2-40B4-BE49-F238E27FC236}">
                <a16:creationId xmlns:a16="http://schemas.microsoft.com/office/drawing/2014/main" id="{7B980D0A-4AC2-47F3-A7F5-407281BA88D1}"/>
              </a:ext>
            </a:extLst>
          </p:cNvPr>
          <p:cNvSpPr txBox="1"/>
          <p:nvPr userDrawn="1"/>
        </p:nvSpPr>
        <p:spPr bwMode="gray">
          <a:xfrm>
            <a:off x="553954" y="641054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fld id="{DBBD357C-3BDF-4D0D-BAB2-A0C0592CF60E}" type="slidenum">
              <a:rPr lang="en-US" sz="1333" smtClean="0">
                <a:solidFill>
                  <a:schemeClr val="accent2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pPr algn="l"/>
              <a:t>‹#›</a:t>
            </a:fld>
            <a:endParaRPr lang="en-US" sz="1333" dirty="0">
              <a:solidFill>
                <a:schemeClr val="accent2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80433F0-8C83-4373-ADDE-FC2FB83B61EF}"/>
              </a:ext>
            </a:extLst>
          </p:cNvPr>
          <p:cNvCxnSpPr/>
          <p:nvPr userDrawn="1"/>
        </p:nvCxnSpPr>
        <p:spPr bwMode="auto">
          <a:xfrm flipV="1">
            <a:off x="1039471" y="6410484"/>
            <a:ext cx="0" cy="205184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96B915E9-AEE8-4AE6-A53A-B1FD04C9EE2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225" y="211667"/>
            <a:ext cx="1086551" cy="69216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E36B5D4-B21F-41C1-BCA6-323F64A4A0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6" name="meta-classification"/>
          <p:cNvSpPr txBox="1"/>
          <p:nvPr userDrawn="1"/>
        </p:nvSpPr>
        <p:spPr>
          <a:xfrm>
            <a:off x="552000" y="1"/>
            <a:ext cx="1203856" cy="275690"/>
          </a:xfrm>
          <a:prstGeom prst="rect">
            <a:avLst/>
          </a:prstGeom>
          <a:noFill/>
          <a:ln>
            <a:noFill/>
          </a:ln>
        </p:spPr>
        <p:txBody>
          <a:bodyPr wrap="none" lIns="0" tIns="110400" rIns="0" bIns="0" rtlCol="0" anchor="t" anchorCtr="0">
            <a:spAutoFit/>
          </a:bodyPr>
          <a:lstStyle/>
          <a:p>
            <a:pPr lvl="0"/>
            <a:r>
              <a:rPr lang="en-US" sz="1067" b="1" cap="all" baseline="0" dirty="0">
                <a:solidFill>
                  <a:schemeClr val="bg2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286994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4103053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3485487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49928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5" y="0"/>
            <a:ext cx="5135032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320991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59" y="692152"/>
            <a:ext cx="6403200" cy="59568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0" y="3678626"/>
            <a:ext cx="6209661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525358"/>
            <a:ext cx="6209660" cy="2153268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209661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209661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914579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133894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2000" cy="6864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33"/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333333"/>
          </a:solidFill>
        </p:spPr>
        <p:txBody>
          <a:bodyPr lIns="324000" tIns="576000"/>
          <a:lstStyle>
            <a:lvl1pPr>
              <a:defRPr sz="1333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FOR INTERNAL US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693863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42560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9" y="0"/>
            <a:ext cx="5135033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82937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1" y="1534584"/>
            <a:ext cx="3630084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77786" y="1534584"/>
            <a:ext cx="3630085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 startAt="7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37693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600"/>
              <a:t>Bullet number, Delivery, 12 </a:t>
            </a:r>
            <a:r>
              <a:rPr lang="en-US" sz="1600" err="1"/>
              <a:t>pt</a:t>
            </a:r>
            <a:r>
              <a:rPr lang="en-US" sz="160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3048000" y="2305617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24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90799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Logistics Trend Radar 5th Edition Overview | DHL Trend Research | August 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983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5">
            <a:extLst>
              <a:ext uri="{FF2B5EF4-FFF2-40B4-BE49-F238E27FC236}">
                <a16:creationId xmlns:a16="http://schemas.microsoft.com/office/drawing/2014/main" id="{3A8B53D3-AE00-AB4C-A611-66E241EFAF24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D32F061-BA4C-448E-AFE3-012A2685D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6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D32F061-BA4C-448E-AFE3-012A2685D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7D09EE9-17AE-4635-AFE3-E0D639ABB92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552000" y="254530"/>
            <a:ext cx="958090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552451" y="1458546"/>
            <a:ext cx="11091333" cy="43834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 marL="0" indent="0"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6672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88530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6066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664387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06066" y="1534584"/>
            <a:ext cx="5553933" cy="4707467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331042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6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656011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69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730893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1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615164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2001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6064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281442900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54674846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6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71009614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0782832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03D961C-85E5-4817-A147-B2D8A18D64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03D961C-85E5-4817-A147-B2D8A18D64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D7D1918-7069-4B4E-A603-83084F5BC9B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552000" y="254530"/>
            <a:ext cx="945898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781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3A8B53D3-AE00-AB4C-A611-66E241EFAF24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974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54">
          <p15:clr>
            <a:srgbClr val="FBAE40"/>
          </p15:clr>
        </p15:guide>
        <p15:guide id="2" pos="249">
          <p15:clr>
            <a:srgbClr val="FBAE40"/>
          </p15:clr>
        </p15:guide>
        <p15:guide id="3" pos="5510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65490" y="2617595"/>
            <a:ext cx="6978649" cy="1196824"/>
          </a:xfrm>
        </p:spPr>
        <p:txBody>
          <a:bodyPr>
            <a:noAutofit/>
          </a:bodyPr>
          <a:lstStyle>
            <a:lvl1pPr>
              <a:lnSpc>
                <a:spcPts val="4000"/>
              </a:lnSpc>
              <a:spcAft>
                <a:spcPts val="0"/>
              </a:spcAft>
              <a:defRPr sz="3333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“This space is reserved for quotes.</a:t>
            </a:r>
            <a:br>
              <a:rPr lang="en-US"/>
            </a:br>
            <a:r>
              <a:rPr lang="en-US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184688449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425725" y="1980238"/>
            <a:ext cx="417888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800" b="0" cap="all" baseline="0" noProof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96881223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C0D95C-1788-4870-AB47-F45E6329A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38"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EC0D95C-1788-4870-AB47-F45E6329A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" name="Picture 54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318" y="-1339"/>
            <a:ext cx="1316503" cy="6858000"/>
          </a:xfrm>
          <a:prstGeom prst="rect">
            <a:avLst/>
          </a:prstGeom>
        </p:spPr>
      </p:pic>
      <p:sp>
        <p:nvSpPr>
          <p:cNvPr id="56" name="Freeform 55"/>
          <p:cNvSpPr/>
          <p:nvPr userDrawn="1"/>
        </p:nvSpPr>
        <p:spPr>
          <a:xfrm>
            <a:off x="3" y="6034991"/>
            <a:ext cx="1317812" cy="828399"/>
          </a:xfrm>
          <a:custGeom>
            <a:avLst/>
            <a:gdLst>
              <a:gd name="connsiteX0" fmla="*/ 0 w 1317812"/>
              <a:gd name="connsiteY0" fmla="*/ 0 h 828398"/>
              <a:gd name="connsiteX1" fmla="*/ 147916 w 1317812"/>
              <a:gd name="connsiteY1" fmla="*/ 7198 h 828398"/>
              <a:gd name="connsiteX2" fmla="*/ 1208256 w 1317812"/>
              <a:gd name="connsiteY2" fmla="*/ 348352 h 828398"/>
              <a:gd name="connsiteX3" fmla="*/ 1317812 w 1317812"/>
              <a:gd name="connsiteY3" fmla="*/ 421774 h 828398"/>
              <a:gd name="connsiteX4" fmla="*/ 1317812 w 1317812"/>
              <a:gd name="connsiteY4" fmla="*/ 828398 h 828398"/>
              <a:gd name="connsiteX5" fmla="*/ 0 w 1317812"/>
              <a:gd name="connsiteY5" fmla="*/ 828398 h 828398"/>
              <a:gd name="connsiteX6" fmla="*/ 0 w 1317812"/>
              <a:gd name="connsiteY6" fmla="*/ 0 h 828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17812" h="828398">
                <a:moveTo>
                  <a:pt x="0" y="0"/>
                </a:moveTo>
                <a:lnTo>
                  <a:pt x="147916" y="7198"/>
                </a:lnTo>
                <a:cubicBezTo>
                  <a:pt x="544666" y="46101"/>
                  <a:pt x="908044" y="167480"/>
                  <a:pt x="1208256" y="348352"/>
                </a:cubicBezTo>
                <a:lnTo>
                  <a:pt x="1317812" y="421774"/>
                </a:lnTo>
                <a:lnTo>
                  <a:pt x="1317812" y="828398"/>
                </a:lnTo>
                <a:lnTo>
                  <a:pt x="0" y="828398"/>
                </a:lnTo>
                <a:lnTo>
                  <a:pt x="0" y="0"/>
                </a:lnTo>
                <a:close/>
              </a:path>
            </a:pathLst>
          </a:cu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grpSp>
        <p:nvGrpSpPr>
          <p:cNvPr id="57" name="Group 56"/>
          <p:cNvGrpSpPr/>
          <p:nvPr userDrawn="1"/>
        </p:nvGrpSpPr>
        <p:grpSpPr>
          <a:xfrm>
            <a:off x="250232" y="6508377"/>
            <a:ext cx="803041" cy="113603"/>
            <a:chOff x="637541" y="4487055"/>
            <a:chExt cx="5700713" cy="806450"/>
          </a:xfrm>
        </p:grpSpPr>
        <p:sp>
          <p:nvSpPr>
            <p:cNvPr id="58" name="Freeform 200"/>
            <p:cNvSpPr>
              <a:spLocks/>
            </p:cNvSpPr>
            <p:nvPr/>
          </p:nvSpPr>
          <p:spPr bwMode="auto">
            <a:xfrm>
              <a:off x="637541" y="5129992"/>
              <a:ext cx="771525" cy="57150"/>
            </a:xfrm>
            <a:custGeom>
              <a:avLst/>
              <a:gdLst>
                <a:gd name="T0" fmla="*/ 0 w 486"/>
                <a:gd name="T1" fmla="*/ 0 h 36"/>
                <a:gd name="T2" fmla="*/ 486 w 486"/>
                <a:gd name="T3" fmla="*/ 0 h 36"/>
                <a:gd name="T4" fmla="*/ 458 w 486"/>
                <a:gd name="T5" fmla="*/ 36 h 36"/>
                <a:gd name="T6" fmla="*/ 0 w 486"/>
                <a:gd name="T7" fmla="*/ 36 h 36"/>
                <a:gd name="T8" fmla="*/ 0 w 486"/>
                <a:gd name="T9" fmla="*/ 0 h 36"/>
                <a:gd name="T10" fmla="*/ 0 w 486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6" h="36">
                  <a:moveTo>
                    <a:pt x="0" y="0"/>
                  </a:moveTo>
                  <a:lnTo>
                    <a:pt x="486" y="0"/>
                  </a:lnTo>
                  <a:lnTo>
                    <a:pt x="458" y="36"/>
                  </a:lnTo>
                  <a:lnTo>
                    <a:pt x="0" y="3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59" name="Freeform 201"/>
            <p:cNvSpPr>
              <a:spLocks/>
            </p:cNvSpPr>
            <p:nvPr/>
          </p:nvSpPr>
          <p:spPr bwMode="auto">
            <a:xfrm>
              <a:off x="637541" y="5023630"/>
              <a:ext cx="849313" cy="57150"/>
            </a:xfrm>
            <a:custGeom>
              <a:avLst/>
              <a:gdLst>
                <a:gd name="T0" fmla="*/ 0 w 535"/>
                <a:gd name="T1" fmla="*/ 0 h 36"/>
                <a:gd name="T2" fmla="*/ 535 w 535"/>
                <a:gd name="T3" fmla="*/ 0 h 36"/>
                <a:gd name="T4" fmla="*/ 508 w 535"/>
                <a:gd name="T5" fmla="*/ 36 h 36"/>
                <a:gd name="T6" fmla="*/ 0 w 535"/>
                <a:gd name="T7" fmla="*/ 36 h 36"/>
                <a:gd name="T8" fmla="*/ 0 w 535"/>
                <a:gd name="T9" fmla="*/ 0 h 36"/>
                <a:gd name="T10" fmla="*/ 0 w 535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5" h="36">
                  <a:moveTo>
                    <a:pt x="0" y="0"/>
                  </a:moveTo>
                  <a:lnTo>
                    <a:pt x="535" y="0"/>
                  </a:lnTo>
                  <a:lnTo>
                    <a:pt x="508" y="36"/>
                  </a:lnTo>
                  <a:lnTo>
                    <a:pt x="0" y="3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0" name="Freeform 202"/>
            <p:cNvSpPr>
              <a:spLocks/>
            </p:cNvSpPr>
            <p:nvPr/>
          </p:nvSpPr>
          <p:spPr bwMode="auto">
            <a:xfrm>
              <a:off x="637541" y="5236355"/>
              <a:ext cx="692150" cy="57150"/>
            </a:xfrm>
            <a:custGeom>
              <a:avLst/>
              <a:gdLst>
                <a:gd name="T0" fmla="*/ 0 w 436"/>
                <a:gd name="T1" fmla="*/ 0 h 36"/>
                <a:gd name="T2" fmla="*/ 436 w 436"/>
                <a:gd name="T3" fmla="*/ 0 h 36"/>
                <a:gd name="T4" fmla="*/ 410 w 436"/>
                <a:gd name="T5" fmla="*/ 36 h 36"/>
                <a:gd name="T6" fmla="*/ 0 w 436"/>
                <a:gd name="T7" fmla="*/ 36 h 36"/>
                <a:gd name="T8" fmla="*/ 0 w 436"/>
                <a:gd name="T9" fmla="*/ 0 h 36"/>
                <a:gd name="T10" fmla="*/ 0 w 436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6" h="36">
                  <a:moveTo>
                    <a:pt x="0" y="0"/>
                  </a:moveTo>
                  <a:lnTo>
                    <a:pt x="436" y="0"/>
                  </a:lnTo>
                  <a:lnTo>
                    <a:pt x="410" y="36"/>
                  </a:lnTo>
                  <a:lnTo>
                    <a:pt x="0" y="3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1" name="Freeform 203"/>
            <p:cNvSpPr>
              <a:spLocks/>
            </p:cNvSpPr>
            <p:nvPr/>
          </p:nvSpPr>
          <p:spPr bwMode="auto">
            <a:xfrm>
              <a:off x="5569904" y="5129992"/>
              <a:ext cx="768350" cy="57150"/>
            </a:xfrm>
            <a:custGeom>
              <a:avLst/>
              <a:gdLst>
                <a:gd name="T0" fmla="*/ 484 w 484"/>
                <a:gd name="T1" fmla="*/ 36 h 36"/>
                <a:gd name="T2" fmla="*/ 0 w 484"/>
                <a:gd name="T3" fmla="*/ 36 h 36"/>
                <a:gd name="T4" fmla="*/ 28 w 484"/>
                <a:gd name="T5" fmla="*/ 0 h 36"/>
                <a:gd name="T6" fmla="*/ 484 w 484"/>
                <a:gd name="T7" fmla="*/ 0 h 36"/>
                <a:gd name="T8" fmla="*/ 484 w 484"/>
                <a:gd name="T9" fmla="*/ 36 h 36"/>
                <a:gd name="T10" fmla="*/ 484 w 484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" h="36">
                  <a:moveTo>
                    <a:pt x="484" y="36"/>
                  </a:moveTo>
                  <a:lnTo>
                    <a:pt x="0" y="36"/>
                  </a:lnTo>
                  <a:lnTo>
                    <a:pt x="28" y="0"/>
                  </a:lnTo>
                  <a:lnTo>
                    <a:pt x="484" y="0"/>
                  </a:lnTo>
                  <a:lnTo>
                    <a:pt x="484" y="36"/>
                  </a:lnTo>
                  <a:lnTo>
                    <a:pt x="484" y="36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2" name="Freeform 204"/>
            <p:cNvSpPr>
              <a:spLocks/>
            </p:cNvSpPr>
            <p:nvPr/>
          </p:nvSpPr>
          <p:spPr bwMode="auto">
            <a:xfrm>
              <a:off x="5492116" y="5236355"/>
              <a:ext cx="846138" cy="57150"/>
            </a:xfrm>
            <a:custGeom>
              <a:avLst/>
              <a:gdLst>
                <a:gd name="T0" fmla="*/ 533 w 533"/>
                <a:gd name="T1" fmla="*/ 36 h 36"/>
                <a:gd name="T2" fmla="*/ 0 w 533"/>
                <a:gd name="T3" fmla="*/ 36 h 36"/>
                <a:gd name="T4" fmla="*/ 27 w 533"/>
                <a:gd name="T5" fmla="*/ 0 h 36"/>
                <a:gd name="T6" fmla="*/ 533 w 533"/>
                <a:gd name="T7" fmla="*/ 0 h 36"/>
                <a:gd name="T8" fmla="*/ 533 w 533"/>
                <a:gd name="T9" fmla="*/ 36 h 36"/>
                <a:gd name="T10" fmla="*/ 533 w 533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3" h="36">
                  <a:moveTo>
                    <a:pt x="533" y="36"/>
                  </a:moveTo>
                  <a:lnTo>
                    <a:pt x="0" y="36"/>
                  </a:lnTo>
                  <a:lnTo>
                    <a:pt x="27" y="0"/>
                  </a:lnTo>
                  <a:lnTo>
                    <a:pt x="533" y="0"/>
                  </a:lnTo>
                  <a:lnTo>
                    <a:pt x="533" y="36"/>
                  </a:lnTo>
                  <a:lnTo>
                    <a:pt x="533" y="36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3" name="Freeform 206"/>
            <p:cNvSpPr>
              <a:spLocks/>
            </p:cNvSpPr>
            <p:nvPr/>
          </p:nvSpPr>
          <p:spPr bwMode="auto">
            <a:xfrm>
              <a:off x="5649278" y="5023630"/>
              <a:ext cx="688975" cy="57150"/>
            </a:xfrm>
            <a:custGeom>
              <a:avLst/>
              <a:gdLst>
                <a:gd name="T0" fmla="*/ 26 w 434"/>
                <a:gd name="T1" fmla="*/ 0 h 36"/>
                <a:gd name="T2" fmla="*/ 434 w 434"/>
                <a:gd name="T3" fmla="*/ 0 h 36"/>
                <a:gd name="T4" fmla="*/ 434 w 434"/>
                <a:gd name="T5" fmla="*/ 36 h 36"/>
                <a:gd name="T6" fmla="*/ 0 w 434"/>
                <a:gd name="T7" fmla="*/ 36 h 36"/>
                <a:gd name="T8" fmla="*/ 26 w 434"/>
                <a:gd name="T9" fmla="*/ 0 h 36"/>
                <a:gd name="T10" fmla="*/ 26 w 434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4" h="36">
                  <a:moveTo>
                    <a:pt x="26" y="0"/>
                  </a:moveTo>
                  <a:lnTo>
                    <a:pt x="434" y="0"/>
                  </a:lnTo>
                  <a:lnTo>
                    <a:pt x="434" y="36"/>
                  </a:lnTo>
                  <a:lnTo>
                    <a:pt x="0" y="36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4" name="Freeform 207"/>
            <p:cNvSpPr>
              <a:spLocks/>
            </p:cNvSpPr>
            <p:nvPr/>
          </p:nvSpPr>
          <p:spPr bwMode="auto">
            <a:xfrm>
              <a:off x="1383666" y="4796617"/>
              <a:ext cx="1401763" cy="496888"/>
            </a:xfrm>
            <a:custGeom>
              <a:avLst/>
              <a:gdLst>
                <a:gd name="T0" fmla="*/ 0 w 516"/>
                <a:gd name="T1" fmla="*/ 183 h 183"/>
                <a:gd name="T2" fmla="*/ 135 w 516"/>
                <a:gd name="T3" fmla="*/ 0 h 183"/>
                <a:gd name="T4" fmla="*/ 302 w 516"/>
                <a:gd name="T5" fmla="*/ 0 h 183"/>
                <a:gd name="T6" fmla="*/ 311 w 516"/>
                <a:gd name="T7" fmla="*/ 19 h 183"/>
                <a:gd name="T8" fmla="*/ 277 w 516"/>
                <a:gd name="T9" fmla="*/ 66 h 183"/>
                <a:gd name="T10" fmla="*/ 292 w 516"/>
                <a:gd name="T11" fmla="*/ 84 h 183"/>
                <a:gd name="T12" fmla="*/ 516 w 516"/>
                <a:gd name="T13" fmla="*/ 84 h 183"/>
                <a:gd name="T14" fmla="*/ 329 w 516"/>
                <a:gd name="T15" fmla="*/ 183 h 183"/>
                <a:gd name="T16" fmla="*/ 0 w 516"/>
                <a:gd name="T17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6" h="183">
                  <a:moveTo>
                    <a:pt x="0" y="183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35" y="0"/>
                    <a:pt x="284" y="0"/>
                    <a:pt x="302" y="0"/>
                  </a:cubicBezTo>
                  <a:cubicBezTo>
                    <a:pt x="321" y="0"/>
                    <a:pt x="320" y="7"/>
                    <a:pt x="311" y="19"/>
                  </a:cubicBezTo>
                  <a:cubicBezTo>
                    <a:pt x="302" y="32"/>
                    <a:pt x="286" y="53"/>
                    <a:pt x="277" y="66"/>
                  </a:cubicBezTo>
                  <a:cubicBezTo>
                    <a:pt x="272" y="72"/>
                    <a:pt x="264" y="84"/>
                    <a:pt x="292" y="84"/>
                  </a:cubicBezTo>
                  <a:cubicBezTo>
                    <a:pt x="322" y="84"/>
                    <a:pt x="516" y="84"/>
                    <a:pt x="516" y="84"/>
                  </a:cubicBezTo>
                  <a:cubicBezTo>
                    <a:pt x="498" y="109"/>
                    <a:pt x="437" y="183"/>
                    <a:pt x="329" y="183"/>
                  </a:cubicBezTo>
                  <a:cubicBezTo>
                    <a:pt x="241" y="183"/>
                    <a:pt x="0" y="183"/>
                    <a:pt x="0" y="183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5" name="Freeform 208"/>
            <p:cNvSpPr>
              <a:spLocks/>
            </p:cNvSpPr>
            <p:nvPr/>
          </p:nvSpPr>
          <p:spPr bwMode="auto">
            <a:xfrm>
              <a:off x="2758441" y="5023630"/>
              <a:ext cx="722313" cy="269875"/>
            </a:xfrm>
            <a:custGeom>
              <a:avLst/>
              <a:gdLst>
                <a:gd name="T0" fmla="*/ 266 w 266"/>
                <a:gd name="T1" fmla="*/ 0 h 99"/>
                <a:gd name="T2" fmla="*/ 193 w 266"/>
                <a:gd name="T3" fmla="*/ 99 h 99"/>
                <a:gd name="T4" fmla="*/ 0 w 266"/>
                <a:gd name="T5" fmla="*/ 99 h 99"/>
                <a:gd name="T6" fmla="*/ 73 w 266"/>
                <a:gd name="T7" fmla="*/ 0 h 99"/>
                <a:gd name="T8" fmla="*/ 266 w 266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6" h="99">
                  <a:moveTo>
                    <a:pt x="266" y="0"/>
                  </a:moveTo>
                  <a:cubicBezTo>
                    <a:pt x="193" y="99"/>
                    <a:pt x="193" y="99"/>
                    <a:pt x="193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9"/>
                    <a:pt x="73" y="0"/>
                    <a:pt x="73" y="0"/>
                  </a:cubicBezTo>
                  <a:cubicBezTo>
                    <a:pt x="266" y="0"/>
                    <a:pt x="266" y="0"/>
                    <a:pt x="266" y="0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6" name="Freeform 209"/>
            <p:cNvSpPr>
              <a:spLocks/>
            </p:cNvSpPr>
            <p:nvPr/>
          </p:nvSpPr>
          <p:spPr bwMode="auto">
            <a:xfrm>
              <a:off x="3515678" y="5023630"/>
              <a:ext cx="722313" cy="269875"/>
            </a:xfrm>
            <a:custGeom>
              <a:avLst/>
              <a:gdLst>
                <a:gd name="T0" fmla="*/ 266 w 266"/>
                <a:gd name="T1" fmla="*/ 0 h 99"/>
                <a:gd name="T2" fmla="*/ 193 w 266"/>
                <a:gd name="T3" fmla="*/ 99 h 99"/>
                <a:gd name="T4" fmla="*/ 0 w 266"/>
                <a:gd name="T5" fmla="*/ 99 h 99"/>
                <a:gd name="T6" fmla="*/ 73 w 266"/>
                <a:gd name="T7" fmla="*/ 0 h 99"/>
                <a:gd name="T8" fmla="*/ 266 w 266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6" h="99">
                  <a:moveTo>
                    <a:pt x="266" y="0"/>
                  </a:moveTo>
                  <a:cubicBezTo>
                    <a:pt x="193" y="99"/>
                    <a:pt x="193" y="99"/>
                    <a:pt x="193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9"/>
                    <a:pt x="73" y="0"/>
                    <a:pt x="73" y="0"/>
                  </a:cubicBezTo>
                  <a:cubicBezTo>
                    <a:pt x="266" y="0"/>
                    <a:pt x="266" y="0"/>
                    <a:pt x="266" y="0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7" name="Freeform 210"/>
            <p:cNvSpPr>
              <a:spLocks/>
            </p:cNvSpPr>
            <p:nvPr/>
          </p:nvSpPr>
          <p:spPr bwMode="auto">
            <a:xfrm>
              <a:off x="4284028" y="5023630"/>
              <a:ext cx="1311275" cy="269875"/>
            </a:xfrm>
            <a:custGeom>
              <a:avLst/>
              <a:gdLst>
                <a:gd name="T0" fmla="*/ 45 w 483"/>
                <a:gd name="T1" fmla="*/ 0 h 99"/>
                <a:gd name="T2" fmla="*/ 24 w 483"/>
                <a:gd name="T3" fmla="*/ 28 h 99"/>
                <a:gd name="T4" fmla="*/ 101 w 483"/>
                <a:gd name="T5" fmla="*/ 99 h 99"/>
                <a:gd name="T6" fmla="*/ 410 w 483"/>
                <a:gd name="T7" fmla="*/ 99 h 99"/>
                <a:gd name="T8" fmla="*/ 483 w 483"/>
                <a:gd name="T9" fmla="*/ 0 h 99"/>
                <a:gd name="T10" fmla="*/ 45 w 483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3" h="99">
                  <a:moveTo>
                    <a:pt x="45" y="0"/>
                  </a:moveTo>
                  <a:cubicBezTo>
                    <a:pt x="45" y="0"/>
                    <a:pt x="31" y="19"/>
                    <a:pt x="24" y="28"/>
                  </a:cubicBezTo>
                  <a:cubicBezTo>
                    <a:pt x="0" y="61"/>
                    <a:pt x="22" y="99"/>
                    <a:pt x="101" y="99"/>
                  </a:cubicBezTo>
                  <a:cubicBezTo>
                    <a:pt x="192" y="99"/>
                    <a:pt x="410" y="99"/>
                    <a:pt x="410" y="99"/>
                  </a:cubicBezTo>
                  <a:cubicBezTo>
                    <a:pt x="483" y="0"/>
                    <a:pt x="483" y="0"/>
                    <a:pt x="483" y="0"/>
                  </a:cubicBezTo>
                  <a:cubicBezTo>
                    <a:pt x="45" y="0"/>
                    <a:pt x="45" y="0"/>
                    <a:pt x="45" y="0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8" name="Freeform 211"/>
            <p:cNvSpPr>
              <a:spLocks/>
            </p:cNvSpPr>
            <p:nvPr/>
          </p:nvSpPr>
          <p:spPr bwMode="auto">
            <a:xfrm>
              <a:off x="1458278" y="4487055"/>
              <a:ext cx="1568450" cy="474663"/>
            </a:xfrm>
            <a:custGeom>
              <a:avLst/>
              <a:gdLst>
                <a:gd name="T0" fmla="*/ 67 w 578"/>
                <a:gd name="T1" fmla="*/ 0 h 175"/>
                <a:gd name="T2" fmla="*/ 0 w 578"/>
                <a:gd name="T3" fmla="*/ 91 h 175"/>
                <a:gd name="T4" fmla="*/ 366 w 578"/>
                <a:gd name="T5" fmla="*/ 91 h 175"/>
                <a:gd name="T6" fmla="*/ 375 w 578"/>
                <a:gd name="T7" fmla="*/ 110 h 175"/>
                <a:gd name="T8" fmla="*/ 341 w 578"/>
                <a:gd name="T9" fmla="*/ 157 h 175"/>
                <a:gd name="T10" fmla="*/ 356 w 578"/>
                <a:gd name="T11" fmla="*/ 175 h 175"/>
                <a:gd name="T12" fmla="*/ 506 w 578"/>
                <a:gd name="T13" fmla="*/ 175 h 175"/>
                <a:gd name="T14" fmla="*/ 550 w 578"/>
                <a:gd name="T15" fmla="*/ 115 h 175"/>
                <a:gd name="T16" fmla="*/ 454 w 578"/>
                <a:gd name="T17" fmla="*/ 0 h 175"/>
                <a:gd name="T18" fmla="*/ 67 w 578"/>
                <a:gd name="T1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8" h="175">
                  <a:moveTo>
                    <a:pt x="67" y="0"/>
                  </a:moveTo>
                  <a:cubicBezTo>
                    <a:pt x="0" y="91"/>
                    <a:pt x="0" y="91"/>
                    <a:pt x="0" y="91"/>
                  </a:cubicBezTo>
                  <a:cubicBezTo>
                    <a:pt x="0" y="91"/>
                    <a:pt x="348" y="91"/>
                    <a:pt x="366" y="91"/>
                  </a:cubicBezTo>
                  <a:cubicBezTo>
                    <a:pt x="384" y="91"/>
                    <a:pt x="384" y="98"/>
                    <a:pt x="375" y="110"/>
                  </a:cubicBezTo>
                  <a:cubicBezTo>
                    <a:pt x="366" y="123"/>
                    <a:pt x="351" y="145"/>
                    <a:pt x="341" y="157"/>
                  </a:cubicBezTo>
                  <a:cubicBezTo>
                    <a:pt x="336" y="164"/>
                    <a:pt x="328" y="175"/>
                    <a:pt x="356" y="175"/>
                  </a:cubicBezTo>
                  <a:cubicBezTo>
                    <a:pt x="386" y="175"/>
                    <a:pt x="506" y="175"/>
                    <a:pt x="506" y="175"/>
                  </a:cubicBezTo>
                  <a:cubicBezTo>
                    <a:pt x="506" y="175"/>
                    <a:pt x="530" y="142"/>
                    <a:pt x="550" y="115"/>
                  </a:cubicBezTo>
                  <a:cubicBezTo>
                    <a:pt x="578" y="78"/>
                    <a:pt x="553" y="0"/>
                    <a:pt x="454" y="0"/>
                  </a:cubicBezTo>
                  <a:cubicBezTo>
                    <a:pt x="366" y="0"/>
                    <a:pt x="67" y="0"/>
                    <a:pt x="67" y="0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69" name="Freeform 212"/>
            <p:cNvSpPr>
              <a:spLocks/>
            </p:cNvSpPr>
            <p:nvPr/>
          </p:nvSpPr>
          <p:spPr bwMode="auto">
            <a:xfrm>
              <a:off x="3002916" y="4487055"/>
              <a:ext cx="1628775" cy="474663"/>
            </a:xfrm>
            <a:custGeom>
              <a:avLst/>
              <a:gdLst>
                <a:gd name="T0" fmla="*/ 805 w 1026"/>
                <a:gd name="T1" fmla="*/ 299 h 299"/>
                <a:gd name="T2" fmla="*/ 0 w 1026"/>
                <a:gd name="T3" fmla="*/ 299 h 299"/>
                <a:gd name="T4" fmla="*/ 220 w 1026"/>
                <a:gd name="T5" fmla="*/ 0 h 299"/>
                <a:gd name="T6" fmla="*/ 549 w 1026"/>
                <a:gd name="T7" fmla="*/ 0 h 299"/>
                <a:gd name="T8" fmla="*/ 422 w 1026"/>
                <a:gd name="T9" fmla="*/ 171 h 299"/>
                <a:gd name="T10" fmla="*/ 569 w 1026"/>
                <a:gd name="T11" fmla="*/ 171 h 299"/>
                <a:gd name="T12" fmla="*/ 696 w 1026"/>
                <a:gd name="T13" fmla="*/ 0 h 299"/>
                <a:gd name="T14" fmla="*/ 1026 w 1026"/>
                <a:gd name="T15" fmla="*/ 0 h 299"/>
                <a:gd name="T16" fmla="*/ 805 w 1026"/>
                <a:gd name="T17" fmla="*/ 299 h 299"/>
                <a:gd name="T18" fmla="*/ 805 w 1026"/>
                <a:gd name="T19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6" h="299">
                  <a:moveTo>
                    <a:pt x="805" y="299"/>
                  </a:moveTo>
                  <a:lnTo>
                    <a:pt x="0" y="299"/>
                  </a:lnTo>
                  <a:lnTo>
                    <a:pt x="220" y="0"/>
                  </a:lnTo>
                  <a:lnTo>
                    <a:pt x="549" y="0"/>
                  </a:lnTo>
                  <a:lnTo>
                    <a:pt x="422" y="171"/>
                  </a:lnTo>
                  <a:lnTo>
                    <a:pt x="569" y="171"/>
                  </a:lnTo>
                  <a:lnTo>
                    <a:pt x="696" y="0"/>
                  </a:lnTo>
                  <a:lnTo>
                    <a:pt x="1026" y="0"/>
                  </a:lnTo>
                  <a:lnTo>
                    <a:pt x="805" y="299"/>
                  </a:lnTo>
                  <a:lnTo>
                    <a:pt x="805" y="299"/>
                  </a:ln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  <p:sp>
          <p:nvSpPr>
            <p:cNvPr id="70" name="Freeform 213"/>
            <p:cNvSpPr>
              <a:spLocks/>
            </p:cNvSpPr>
            <p:nvPr/>
          </p:nvSpPr>
          <p:spPr bwMode="auto">
            <a:xfrm>
              <a:off x="4452303" y="4487055"/>
              <a:ext cx="903288" cy="474663"/>
            </a:xfrm>
            <a:custGeom>
              <a:avLst/>
              <a:gdLst>
                <a:gd name="T0" fmla="*/ 333 w 333"/>
                <a:gd name="T1" fmla="*/ 0 h 175"/>
                <a:gd name="T2" fmla="*/ 204 w 333"/>
                <a:gd name="T3" fmla="*/ 175 h 175"/>
                <a:gd name="T4" fmla="*/ 0 w 333"/>
                <a:gd name="T5" fmla="*/ 175 h 175"/>
                <a:gd name="T6" fmla="*/ 129 w 333"/>
                <a:gd name="T7" fmla="*/ 0 h 175"/>
                <a:gd name="T8" fmla="*/ 333 w 333"/>
                <a:gd name="T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3" h="175">
                  <a:moveTo>
                    <a:pt x="333" y="0"/>
                  </a:moveTo>
                  <a:cubicBezTo>
                    <a:pt x="204" y="175"/>
                    <a:pt x="204" y="175"/>
                    <a:pt x="204" y="17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75"/>
                    <a:pt x="129" y="0"/>
                    <a:pt x="129" y="0"/>
                  </a:cubicBezTo>
                  <a:cubicBezTo>
                    <a:pt x="333" y="0"/>
                    <a:pt x="333" y="0"/>
                    <a:pt x="333" y="0"/>
                  </a:cubicBezTo>
                  <a:close/>
                </a:path>
              </a:pathLst>
            </a:custGeom>
            <a:solidFill>
              <a:srgbClr val="D320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801"/>
            </a:p>
          </p:txBody>
        </p:sp>
      </p:grpSp>
      <p:sp>
        <p:nvSpPr>
          <p:cNvPr id="71" name="Oval 70"/>
          <p:cNvSpPr>
            <a:spLocks noChangeAspect="1"/>
          </p:cNvSpPr>
          <p:nvPr userDrawn="1"/>
        </p:nvSpPr>
        <p:spPr>
          <a:xfrm>
            <a:off x="387607" y="3422419"/>
            <a:ext cx="564172" cy="56417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152400">
              <a:srgbClr val="FFCC00">
                <a:alpha val="8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pic>
        <p:nvPicPr>
          <p:cNvPr id="72" name="Picture 7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322" y="3439558"/>
            <a:ext cx="510847" cy="510847"/>
          </a:xfrm>
          <a:prstGeom prst="rect">
            <a:avLst/>
          </a:prstGeom>
        </p:spPr>
      </p:pic>
      <p:sp>
        <p:nvSpPr>
          <p:cNvPr id="73" name="Oval 72"/>
          <p:cNvSpPr>
            <a:spLocks noChangeAspect="1"/>
          </p:cNvSpPr>
          <p:nvPr userDrawn="1"/>
        </p:nvSpPr>
        <p:spPr>
          <a:xfrm>
            <a:off x="383211" y="2413691"/>
            <a:ext cx="564172" cy="56417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152400">
              <a:srgbClr val="FFCC00">
                <a:alpha val="8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pic>
        <p:nvPicPr>
          <p:cNvPr id="74" name="Picture 73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950" y="2499238"/>
            <a:ext cx="428695" cy="428695"/>
          </a:xfrm>
          <a:prstGeom prst="rect">
            <a:avLst/>
          </a:prstGeom>
          <a:ln>
            <a:noFill/>
          </a:ln>
        </p:spPr>
      </p:pic>
      <p:sp>
        <p:nvSpPr>
          <p:cNvPr id="75" name="Oval 74"/>
          <p:cNvSpPr>
            <a:spLocks noChangeAspect="1"/>
          </p:cNvSpPr>
          <p:nvPr userDrawn="1"/>
        </p:nvSpPr>
        <p:spPr>
          <a:xfrm>
            <a:off x="383211" y="1415775"/>
            <a:ext cx="564172" cy="56417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152400">
              <a:srgbClr val="FFCC00">
                <a:alpha val="8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748" y="1416833"/>
            <a:ext cx="561931" cy="561931"/>
          </a:xfrm>
          <a:prstGeom prst="rect">
            <a:avLst/>
          </a:prstGeom>
        </p:spPr>
      </p:pic>
      <p:sp>
        <p:nvSpPr>
          <p:cNvPr id="77" name="Oval 76"/>
          <p:cNvSpPr>
            <a:spLocks noChangeAspect="1"/>
          </p:cNvSpPr>
          <p:nvPr userDrawn="1"/>
        </p:nvSpPr>
        <p:spPr>
          <a:xfrm>
            <a:off x="375773" y="434943"/>
            <a:ext cx="564172" cy="56417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152400">
              <a:srgbClr val="FFCC00">
                <a:alpha val="8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pic>
        <p:nvPicPr>
          <p:cNvPr id="78" name="Picture 77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771" y="444223"/>
            <a:ext cx="540604" cy="540604"/>
          </a:xfrm>
          <a:prstGeom prst="rect">
            <a:avLst/>
          </a:prstGeom>
        </p:spPr>
      </p:pic>
      <p:sp>
        <p:nvSpPr>
          <p:cNvPr id="30" name="Footer Placeholder 1"/>
          <p:cNvSpPr>
            <a:spLocks noGrp="1"/>
          </p:cNvSpPr>
          <p:nvPr>
            <p:ph type="ftr" sz="quarter" idx="31"/>
          </p:nvPr>
        </p:nvSpPr>
        <p:spPr>
          <a:xfrm>
            <a:off x="3553570" y="6407724"/>
            <a:ext cx="7918767" cy="354261"/>
          </a:xfrm>
          <a:prstGeom prst="rect">
            <a:avLst/>
          </a:prstGeom>
        </p:spPr>
        <p:txBody>
          <a:bodyPr/>
          <a:lstStyle>
            <a:lvl1pPr algn="r">
              <a:defRPr sz="1200" b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11695287" y="6558854"/>
            <a:ext cx="187552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667"/>
              </a:spcAft>
            </a:pPr>
            <a:fld id="{CEF2E207-69D8-4FD3-ABFB-D83C401EDFE1}" type="slidenum">
              <a:rPr lang="en-US" sz="1200" smtClean="0">
                <a:solidFill>
                  <a:schemeClr val="accent2"/>
                </a:solidFill>
              </a:rPr>
              <a:pPr>
                <a:lnSpc>
                  <a:spcPct val="110000"/>
                </a:lnSpc>
                <a:spcAft>
                  <a:spcPts val="667"/>
                </a:spcAft>
              </a:pPr>
              <a:t>‹#›</a:t>
            </a:fld>
            <a:endParaRPr lang="en-US" sz="16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8002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2065DEA-8556-48E5-9A2A-91E3DC439C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62" name="think-cell Slide" r:id="rId5" imgW="352" imgH="353" progId="TCLayout.ActiveDocument.1">
                  <p:embed/>
                </p:oleObj>
              </mc:Choice>
              <mc:Fallback>
                <p:oleObj name="think-cell Slide" r:id="rId5" imgW="352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2065DEA-8556-48E5-9A2A-91E3DC439C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7639673-2015-476F-84FC-CB2803584C8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211667" cy="15875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551999" y="1249200"/>
            <a:ext cx="11088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>
                <a:latin typeface="+mn-lt"/>
                <a:sym typeface="Delivery" panose="020F0503020204020204" pitchFamily="34" charset="0"/>
              </a:defRPr>
            </a:lvl1pPr>
            <a:lvl2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>
                <a:latin typeface="+mn-lt"/>
                <a:sym typeface="Delivery" panose="020F0503020204020204" pitchFamily="34" charset="0"/>
              </a:defRPr>
            </a:lvl2pPr>
            <a:lvl3pPr marL="179996" marR="0" indent="-1799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59991" marR="0" indent="-179996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387" marR="0" indent="-174621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552000" y="1015200"/>
            <a:ext cx="11088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1"/>
          <p:cNvSpPr/>
          <p:nvPr userDrawn="1"/>
        </p:nvSpPr>
        <p:spPr bwMode="hidden">
          <a:xfrm>
            <a:off x="239184" y="5952327"/>
            <a:ext cx="5761504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2" name="Rechteck 8"/>
          <p:cNvSpPr/>
          <p:nvPr userDrawn="1"/>
        </p:nvSpPr>
        <p:spPr bwMode="gray">
          <a:xfrm>
            <a:off x="11160000" y="6225003"/>
            <a:ext cx="483816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sym typeface="Delivery" panose="020F0503020204020204" pitchFamily="34" charset="0"/>
              </a:rPr>
              <a:pPr marL="0" marR="0" indent="0" algn="r" defTabSz="9953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sym typeface="Delivery" panose="020F0503020204020204" pitchFamily="34" charset="0"/>
            </a:endParaRPr>
          </a:p>
        </p:txBody>
      </p:sp>
      <p:pic>
        <p:nvPicPr>
          <p:cNvPr id="15" name="Grafik 12">
            <a:extLst>
              <a:ext uri="{FF2B5EF4-FFF2-40B4-BE49-F238E27FC236}">
                <a16:creationId xmlns:a16="http://schemas.microsoft.com/office/drawing/2014/main" id="{0355B723-67C3-43DD-B2B1-3C84E95DA20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52002" y="6278379"/>
            <a:ext cx="1702911" cy="19019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/>
          <a:srcRect t="91335"/>
          <a:stretch/>
        </p:blipFill>
        <p:spPr>
          <a:xfrm>
            <a:off x="5966907" y="6083453"/>
            <a:ext cx="6049212" cy="594255"/>
          </a:xfrm>
          <a:prstGeom prst="rect">
            <a:avLst/>
          </a:prstGeom>
        </p:spPr>
      </p:pic>
      <p:sp>
        <p:nvSpPr>
          <p:cNvPr id="1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856000" y="6216575"/>
            <a:ext cx="8304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Robotics Hub Introduction | Accelerated Digitalization | BY CoE | April 2021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1382604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cc –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03D961C-85E5-4817-A147-B2D8A18D64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78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03D961C-85E5-4817-A147-B2D8A18D64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01BB0BC-DFF8-4DE1-AA4A-71DBDB13DBF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933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8F0D80E-3A10-497F-979D-C19F8A770A30}"/>
              </a:ext>
            </a:extLst>
          </p:cNvPr>
          <p:cNvGrpSpPr/>
          <p:nvPr userDrawn="1"/>
        </p:nvGrpSpPr>
        <p:grpSpPr>
          <a:xfrm>
            <a:off x="4909" y="-16057"/>
            <a:ext cx="12190265" cy="6860736"/>
            <a:chOff x="3681" y="-12043"/>
            <a:chExt cx="9142699" cy="5145552"/>
          </a:xfrm>
        </p:grpSpPr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E381B39D-BF91-4AA3-9D2E-F3710B2A6F5B}"/>
                </a:ext>
              </a:extLst>
            </p:cNvPr>
            <p:cNvSpPr/>
            <p:nvPr userDrawn="1"/>
          </p:nvSpPr>
          <p:spPr bwMode="auto">
            <a:xfrm>
              <a:off x="4572000" y="-12043"/>
              <a:ext cx="4574380" cy="5143500"/>
            </a:xfrm>
            <a:prstGeom prst="rect">
              <a:avLst/>
            </a:prstGeom>
            <a:gradFill flip="none" rotWithShape="1">
              <a:gsLst>
                <a:gs pos="0">
                  <a:srgbClr val="FFF5CC">
                    <a:alpha val="50000"/>
                  </a:srgbClr>
                </a:gs>
                <a:gs pos="43000">
                  <a:srgbClr val="FFF5CC">
                    <a:alpha val="10000"/>
                  </a:srgbClr>
                </a:gs>
                <a:gs pos="83000">
                  <a:srgbClr val="FFF5CC">
                    <a:alpha val="10000"/>
                  </a:srgbClr>
                </a:gs>
                <a:gs pos="100000">
                  <a:srgbClr val="FFF5CC">
                    <a:alpha val="10000"/>
                  </a:srgbClr>
                </a:gs>
              </a:gsLst>
              <a:lin ang="135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  <a:sym typeface="Delivery" panose="020F0503020204020204" pitchFamily="34" charset="0"/>
              </a:endParaRPr>
            </a:p>
          </p:txBody>
        </p:sp>
        <p:sp>
          <p:nvSpPr>
            <p:cNvPr id="18" name="Rectangle 63">
              <a:extLst>
                <a:ext uri="{FF2B5EF4-FFF2-40B4-BE49-F238E27FC236}">
                  <a16:creationId xmlns:a16="http://schemas.microsoft.com/office/drawing/2014/main" id="{B2B11A80-8CA0-40B6-B5B2-1D0B7CB7488F}"/>
                </a:ext>
              </a:extLst>
            </p:cNvPr>
            <p:cNvSpPr/>
            <p:nvPr userDrawn="1"/>
          </p:nvSpPr>
          <p:spPr bwMode="auto">
            <a:xfrm rot="10800000">
              <a:off x="3681" y="-9991"/>
              <a:ext cx="4568317" cy="5143500"/>
            </a:xfrm>
            <a:prstGeom prst="rect">
              <a:avLst/>
            </a:prstGeom>
            <a:gradFill flip="none" rotWithShape="1">
              <a:gsLst>
                <a:gs pos="0">
                  <a:srgbClr val="FFF5CC">
                    <a:alpha val="50000"/>
                  </a:srgbClr>
                </a:gs>
                <a:gs pos="43000">
                  <a:srgbClr val="FFF5CC">
                    <a:alpha val="10000"/>
                  </a:srgbClr>
                </a:gs>
                <a:gs pos="83000">
                  <a:srgbClr val="FFF5CC">
                    <a:alpha val="10000"/>
                  </a:srgbClr>
                </a:gs>
                <a:gs pos="100000">
                  <a:srgbClr val="FFF5CC">
                    <a:alpha val="10000"/>
                  </a:srgbClr>
                </a:gs>
              </a:gsLst>
              <a:lin ang="135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271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  <a:sym typeface="Delivery" panose="020F0503020204020204" pitchFamily="34" charset="0"/>
              </a:endParaRPr>
            </a:p>
          </p:txBody>
        </p:sp>
      </p:grpSp>
      <p:sp>
        <p:nvSpPr>
          <p:cNvPr id="22" name="Freeform: Shape 23">
            <a:extLst>
              <a:ext uri="{FF2B5EF4-FFF2-40B4-BE49-F238E27FC236}">
                <a16:creationId xmlns:a16="http://schemas.microsoft.com/office/drawing/2014/main" id="{FA890300-2BD9-4D57-BCF8-E710A494C61D}"/>
              </a:ext>
            </a:extLst>
          </p:cNvPr>
          <p:cNvSpPr/>
          <p:nvPr userDrawn="1"/>
        </p:nvSpPr>
        <p:spPr bwMode="auto">
          <a:xfrm rot="10800000">
            <a:off x="0" y="-10149"/>
            <a:ext cx="4368800" cy="535733"/>
          </a:xfrm>
          <a:custGeom>
            <a:avLst/>
            <a:gdLst>
              <a:gd name="connsiteX0" fmla="*/ 985807 w 3276600"/>
              <a:gd name="connsiteY0" fmla="*/ 0 h 955498"/>
              <a:gd name="connsiteX1" fmla="*/ 3276600 w 3276600"/>
              <a:gd name="connsiteY1" fmla="*/ 0 h 955498"/>
              <a:gd name="connsiteX2" fmla="*/ 3276600 w 3276600"/>
              <a:gd name="connsiteY2" fmla="*/ 955498 h 955498"/>
              <a:gd name="connsiteX3" fmla="*/ 0 w 3276600"/>
              <a:gd name="connsiteY3" fmla="*/ 955498 h 955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76600" h="955498">
                <a:moveTo>
                  <a:pt x="985807" y="0"/>
                </a:moveTo>
                <a:lnTo>
                  <a:pt x="3276600" y="0"/>
                </a:lnTo>
                <a:lnTo>
                  <a:pt x="3276600" y="955498"/>
                </a:lnTo>
                <a:lnTo>
                  <a:pt x="0" y="955498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381000">
              <a:srgbClr val="FFF5CC">
                <a:alpha val="20000"/>
              </a:srgb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3" name="Freeform: Shape 25">
            <a:extLst>
              <a:ext uri="{FF2B5EF4-FFF2-40B4-BE49-F238E27FC236}">
                <a16:creationId xmlns:a16="http://schemas.microsoft.com/office/drawing/2014/main" id="{EA874D12-318D-403B-81C8-8EAEF6AF48DB}"/>
              </a:ext>
            </a:extLst>
          </p:cNvPr>
          <p:cNvSpPr/>
          <p:nvPr userDrawn="1"/>
        </p:nvSpPr>
        <p:spPr bwMode="auto">
          <a:xfrm>
            <a:off x="9208133" y="5704411"/>
            <a:ext cx="2997200" cy="1163763"/>
          </a:xfrm>
          <a:custGeom>
            <a:avLst/>
            <a:gdLst>
              <a:gd name="connsiteX0" fmla="*/ 985807 w 3276600"/>
              <a:gd name="connsiteY0" fmla="*/ 0 h 955498"/>
              <a:gd name="connsiteX1" fmla="*/ 3276600 w 3276600"/>
              <a:gd name="connsiteY1" fmla="*/ 0 h 955498"/>
              <a:gd name="connsiteX2" fmla="*/ 3276600 w 3276600"/>
              <a:gd name="connsiteY2" fmla="*/ 955498 h 955498"/>
              <a:gd name="connsiteX3" fmla="*/ 0 w 3276600"/>
              <a:gd name="connsiteY3" fmla="*/ 955498 h 955498"/>
              <a:gd name="connsiteX0" fmla="*/ 985807 w 3276600"/>
              <a:gd name="connsiteY0" fmla="*/ 0 h 955498"/>
              <a:gd name="connsiteX1" fmla="*/ 3276600 w 3276600"/>
              <a:gd name="connsiteY1" fmla="*/ 0 h 955498"/>
              <a:gd name="connsiteX2" fmla="*/ 2286000 w 3276600"/>
              <a:gd name="connsiteY2" fmla="*/ 945973 h 955498"/>
              <a:gd name="connsiteX3" fmla="*/ 0 w 3276600"/>
              <a:gd name="connsiteY3" fmla="*/ 955498 h 955498"/>
              <a:gd name="connsiteX4" fmla="*/ 985807 w 3276600"/>
              <a:gd name="connsiteY4" fmla="*/ 0 h 955498"/>
              <a:gd name="connsiteX0" fmla="*/ 985807 w 2286000"/>
              <a:gd name="connsiteY0" fmla="*/ 9525 h 965023"/>
              <a:gd name="connsiteX1" fmla="*/ 2247900 w 2286000"/>
              <a:gd name="connsiteY1" fmla="*/ 0 h 965023"/>
              <a:gd name="connsiteX2" fmla="*/ 2286000 w 2286000"/>
              <a:gd name="connsiteY2" fmla="*/ 955498 h 965023"/>
              <a:gd name="connsiteX3" fmla="*/ 0 w 2286000"/>
              <a:gd name="connsiteY3" fmla="*/ 965023 h 965023"/>
              <a:gd name="connsiteX4" fmla="*/ 985807 w 2286000"/>
              <a:gd name="connsiteY4" fmla="*/ 9525 h 965023"/>
              <a:gd name="connsiteX0" fmla="*/ 985807 w 2286000"/>
              <a:gd name="connsiteY0" fmla="*/ 4762 h 960260"/>
              <a:gd name="connsiteX1" fmla="*/ 2247900 w 2286000"/>
              <a:gd name="connsiteY1" fmla="*/ 0 h 960260"/>
              <a:gd name="connsiteX2" fmla="*/ 2286000 w 2286000"/>
              <a:gd name="connsiteY2" fmla="*/ 950735 h 960260"/>
              <a:gd name="connsiteX3" fmla="*/ 0 w 2286000"/>
              <a:gd name="connsiteY3" fmla="*/ 960260 h 960260"/>
              <a:gd name="connsiteX4" fmla="*/ 985807 w 2286000"/>
              <a:gd name="connsiteY4" fmla="*/ 4762 h 960260"/>
              <a:gd name="connsiteX0" fmla="*/ 985807 w 2247900"/>
              <a:gd name="connsiteY0" fmla="*/ 4762 h 960260"/>
              <a:gd name="connsiteX1" fmla="*/ 2247900 w 2247900"/>
              <a:gd name="connsiteY1" fmla="*/ 0 h 960260"/>
              <a:gd name="connsiteX2" fmla="*/ 2062163 w 2247900"/>
              <a:gd name="connsiteY2" fmla="*/ 938828 h 960260"/>
              <a:gd name="connsiteX3" fmla="*/ 0 w 2247900"/>
              <a:gd name="connsiteY3" fmla="*/ 960260 h 960260"/>
              <a:gd name="connsiteX4" fmla="*/ 985807 w 2247900"/>
              <a:gd name="connsiteY4" fmla="*/ 4762 h 960260"/>
              <a:gd name="connsiteX0" fmla="*/ 985807 w 2247900"/>
              <a:gd name="connsiteY0" fmla="*/ 4762 h 960260"/>
              <a:gd name="connsiteX1" fmla="*/ 2247900 w 2247900"/>
              <a:gd name="connsiteY1" fmla="*/ 0 h 960260"/>
              <a:gd name="connsiteX2" fmla="*/ 2243138 w 2247900"/>
              <a:gd name="connsiteY2" fmla="*/ 953115 h 960260"/>
              <a:gd name="connsiteX3" fmla="*/ 0 w 2247900"/>
              <a:gd name="connsiteY3" fmla="*/ 960260 h 960260"/>
              <a:gd name="connsiteX4" fmla="*/ 985807 w 2247900"/>
              <a:gd name="connsiteY4" fmla="*/ 4762 h 960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47900" h="960260">
                <a:moveTo>
                  <a:pt x="985807" y="4762"/>
                </a:moveTo>
                <a:lnTo>
                  <a:pt x="2247900" y="0"/>
                </a:lnTo>
                <a:cubicBezTo>
                  <a:pt x="2246313" y="317705"/>
                  <a:pt x="2244725" y="635410"/>
                  <a:pt x="2243138" y="953115"/>
                </a:cubicBezTo>
                <a:lnTo>
                  <a:pt x="0" y="960260"/>
                </a:lnTo>
                <a:lnTo>
                  <a:pt x="985807" y="4762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381000">
              <a:srgbClr val="FFF5CC">
                <a:alpha val="20000"/>
              </a:srgbClr>
            </a:glow>
          </a:effectLst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1039472" y="6407409"/>
            <a:ext cx="8375281" cy="208259"/>
          </a:xfrm>
        </p:spPr>
        <p:txBody>
          <a:bodyPr lIns="72000"/>
          <a:lstStyle>
            <a:lvl1pPr algn="l">
              <a:defRPr>
                <a:solidFill>
                  <a:schemeClr val="accent2"/>
                </a:solidFill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Robotics Hub Introduction | Accelerated Digitalization | BY CoE | April 2021</a:t>
            </a:r>
            <a:endParaRPr lang="de-DE" dirty="0"/>
          </a:p>
        </p:txBody>
      </p:sp>
      <p:sp>
        <p:nvSpPr>
          <p:cNvPr id="52" name="Textfeld 14">
            <a:extLst>
              <a:ext uri="{FF2B5EF4-FFF2-40B4-BE49-F238E27FC236}">
                <a16:creationId xmlns:a16="http://schemas.microsoft.com/office/drawing/2014/main" id="{7B980D0A-4AC2-47F3-A7F5-407281BA88D1}"/>
              </a:ext>
            </a:extLst>
          </p:cNvPr>
          <p:cNvSpPr txBox="1"/>
          <p:nvPr userDrawn="1"/>
        </p:nvSpPr>
        <p:spPr bwMode="gray">
          <a:xfrm>
            <a:off x="553954" y="641054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fld id="{DBBD357C-3BDF-4D0D-BAB2-A0C0592CF60E}" type="slidenum">
              <a:rPr lang="en-US" sz="1333" smtClean="0">
                <a:solidFill>
                  <a:schemeClr val="accent2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pPr algn="l"/>
              <a:t>‹#›</a:t>
            </a:fld>
            <a:endParaRPr lang="en-US" sz="1333" dirty="0">
              <a:solidFill>
                <a:schemeClr val="accent2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80433F0-8C83-4373-ADDE-FC2FB83B61EF}"/>
              </a:ext>
            </a:extLst>
          </p:cNvPr>
          <p:cNvCxnSpPr/>
          <p:nvPr userDrawn="1"/>
        </p:nvCxnSpPr>
        <p:spPr bwMode="auto">
          <a:xfrm flipV="1">
            <a:off x="1039471" y="6410484"/>
            <a:ext cx="0" cy="205184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96B915E9-AEE8-4AE6-A53A-B1FD04C9EE2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225" y="211667"/>
            <a:ext cx="1086551" cy="69216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E36B5D4-B21F-41C1-BCA6-323F64A4A0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Delivery" panose="020F0503020204020204" pitchFamily="34" charset="0"/>
                <a:sym typeface="Delivery" panose="020F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6" name="meta-classification"/>
          <p:cNvSpPr txBox="1"/>
          <p:nvPr userDrawn="1"/>
        </p:nvSpPr>
        <p:spPr>
          <a:xfrm>
            <a:off x="552000" y="1"/>
            <a:ext cx="1203856" cy="275690"/>
          </a:xfrm>
          <a:prstGeom prst="rect">
            <a:avLst/>
          </a:prstGeom>
          <a:noFill/>
          <a:ln>
            <a:noFill/>
          </a:ln>
        </p:spPr>
        <p:txBody>
          <a:bodyPr wrap="none" lIns="0" tIns="110400" rIns="0" bIns="0" rtlCol="0" anchor="t" anchorCtr="0">
            <a:spAutoFit/>
          </a:bodyPr>
          <a:lstStyle/>
          <a:p>
            <a:pPr lvl="0"/>
            <a:r>
              <a:rPr lang="en-US" sz="1067" b="1" cap="all" baseline="0" dirty="0">
                <a:solidFill>
                  <a:schemeClr val="bg2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910672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074651-BF6A-4ED8-B928-F780E23F62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1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074651-BF6A-4ED8-B928-F780E23F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91F3376-AE03-45BE-BEA5-5C2ABCE342E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552000" y="254530"/>
            <a:ext cx="958090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6242051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Rechteck 5">
            <a:extLst>
              <a:ext uri="{FF2B5EF4-FFF2-40B4-BE49-F238E27FC236}">
                <a16:creationId xmlns:a16="http://schemas.microsoft.com/office/drawing/2014/main" id="{BFB12557-D5F4-1E46-B0CF-260101BFBE07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4451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pictur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A0A2A26-BC8D-4642-82D5-CB7489ABE2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3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A0A2A26-BC8D-4642-82D5-CB7489ABE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DF84CFF-5E2D-4888-9AAB-7A51BB2E683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960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22124A0A-F575-40C4-BD79-2D1A0E93D6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ltGray">
          <a:xfrm>
            <a:off x="6242049" y="1458546"/>
            <a:ext cx="5400000" cy="439403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6D7758A1-F895-4BFD-ACEB-EE8374FBC4A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ltGray">
          <a:xfrm>
            <a:off x="552451" y="1458546"/>
            <a:ext cx="5400000" cy="439403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ußzeilenplatzhalter 33">
            <a:extLst>
              <a:ext uri="{FF2B5EF4-FFF2-40B4-BE49-F238E27FC236}">
                <a16:creationId xmlns:a16="http://schemas.microsoft.com/office/drawing/2014/main" id="{AA75FEA1-1BC7-4045-92F0-E1B9E12119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6C1C95DF-AFF3-1146-AC81-EFBEAAF1815E}"/>
              </a:ext>
            </a:extLst>
          </p:cNvPr>
          <p:cNvSpPr txBox="1"/>
          <p:nvPr userDrawn="1"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4" name="Rechteck 5">
            <a:extLst>
              <a:ext uri="{FF2B5EF4-FFF2-40B4-BE49-F238E27FC236}">
                <a16:creationId xmlns:a16="http://schemas.microsoft.com/office/drawing/2014/main" id="{348310D2-3AEB-CA4E-B9D3-95B821099874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9506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6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C7D316E7-59A8-F640-BD69-264A352B4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7024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light image full screen_B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1C20BE7-4A3E-B44A-BE89-F16F541BA8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23" y="301792"/>
            <a:ext cx="1373607" cy="590192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8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443462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light image full screen_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1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7724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dark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3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A254E98-BA85-2B43-9A9F-BD9D132A092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4704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dark image full scree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5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5491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dark image full scree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8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C5EC62C3-8B17-8C4B-B121-0F2083AA55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716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Logistics Trend Radar 5th Edition Overview | DHL Trend Research | August 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425725" y="1980238"/>
            <a:ext cx="417888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/>
            <a:r>
              <a:rPr lang="en-US" sz="4800" cap="all" dirty="0">
                <a:solidFill>
                  <a:srgbClr val="D40511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65163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42D98AA-714B-4563-8BBF-05617BF23D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0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42D98AA-714B-4563-8BBF-05617BF23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B9BC3D-7687-4754-8C48-0129DCDB8B5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 bwMode="hidden">
          <a:xfrm>
            <a:off x="552000" y="5231662"/>
            <a:ext cx="7008000" cy="111041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3200" cap="none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0" name="Fußzeilenplatzhalter 33">
            <a:extLst>
              <a:ext uri="{FF2B5EF4-FFF2-40B4-BE49-F238E27FC236}">
                <a16:creationId xmlns:a16="http://schemas.microsoft.com/office/drawing/2014/main" id="{F31937AF-5FB6-8C42-9CA1-014B87D358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DBF2570E-4CB6-6A45-8364-CC294C6B1B63}"/>
              </a:ext>
            </a:extLst>
          </p:cNvPr>
          <p:cNvSpPr txBox="1"/>
          <p:nvPr userDrawn="1"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7" name="Rechteck 5">
            <a:extLst>
              <a:ext uri="{FF2B5EF4-FFF2-40B4-BE49-F238E27FC236}">
                <a16:creationId xmlns:a16="http://schemas.microsoft.com/office/drawing/2014/main" id="{170F4D5D-60EE-A344-A164-FE56350E90AD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82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r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200" cap="none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4121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r white big chevr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5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333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6" name="Fußzeilenplatzhalter 33">
            <a:extLst>
              <a:ext uri="{FF2B5EF4-FFF2-40B4-BE49-F238E27FC236}">
                <a16:creationId xmlns:a16="http://schemas.microsoft.com/office/drawing/2014/main" id="{909969C5-E1A0-4533-813E-4D6AAAD0FE1B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E9DAAFB-E571-43FE-BB08-66B4FE4B6D7D}"/>
              </a:ext>
            </a:extLst>
          </p:cNvPr>
          <p:cNvSpPr txBox="1"/>
          <p:nvPr userDrawn="1"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1" name="meta-classification">
            <a:extLst>
              <a:ext uri="{FF2B5EF4-FFF2-40B4-BE49-F238E27FC236}">
                <a16:creationId xmlns:a16="http://schemas.microsoft.com/office/drawing/2014/main" id="{761ACE6D-5A53-4AEA-B1C8-994671C1DF42}"/>
              </a:ext>
            </a:extLst>
          </p:cNvPr>
          <p:cNvSpPr>
            <a:spLocks noGrp="1"/>
          </p:cNvSpPr>
          <p:nvPr userDrawn="1"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8" name="Rechteck 5">
            <a:extLst>
              <a:ext uri="{FF2B5EF4-FFF2-40B4-BE49-F238E27FC236}">
                <a16:creationId xmlns:a16="http://schemas.microsoft.com/office/drawing/2014/main" id="{C275A383-3E1C-A142-A30E-ADE1835996A5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1191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break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7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333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1D70156B-B93C-5B44-8557-FE71F0111FA3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7596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FE7DC0F-358C-473E-8A5C-44BF688CC2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0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FE7DC0F-358C-473E-8A5C-44BF688CC2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1A87659-B712-4DDD-B687-9D586E964DC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552000" y="1458546"/>
            <a:ext cx="11088000" cy="399764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9170" rtl="0" eaLnBrk="1" fontAlgn="auto" latinLnBrk="0" hangingPunct="1">
              <a:lnSpc>
                <a:spcPct val="11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1" baseline="0">
                <a:latin typeface="+mn-lt"/>
                <a:sym typeface="Delivery" panose="020F0503020204020204" pitchFamily="34" charset="0"/>
              </a:defRPr>
            </a:lvl1pPr>
            <a:lvl2pPr>
              <a:spcAft>
                <a:spcPts val="0"/>
              </a:spcAft>
              <a:buFontTx/>
              <a:buNone/>
              <a:defRPr sz="1600" b="0" baseline="0">
                <a:latin typeface="+mn-lt"/>
                <a:sym typeface="Delivery" panose="020F0503020204020204" pitchFamily="34" charset="0"/>
              </a:defRPr>
            </a:lvl2pPr>
            <a:lvl3pPr>
              <a:spcAft>
                <a:spcPts val="0"/>
              </a:spcAft>
              <a:buClr>
                <a:schemeClr val="tx1"/>
              </a:buClr>
              <a:defRPr sz="1600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600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600" baseline="0"/>
            </a:lvl5pPr>
          </a:lstStyle>
          <a:p>
            <a:pPr lvl="0"/>
            <a:endParaRPr lang="en-US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52000" y="254530"/>
            <a:ext cx="961816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1" name="Rechteck 5">
            <a:extLst>
              <a:ext uri="{FF2B5EF4-FFF2-40B4-BE49-F238E27FC236}">
                <a16:creationId xmlns:a16="http://schemas.microsoft.com/office/drawing/2014/main" id="{DDF1C2CF-74CD-0042-BDE3-5403198B24CF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5613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 baseline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D975E8-4A2D-4793-B144-5026BEC0F6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2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D975E8-4A2D-4793-B144-5026BEC0F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2BDB349-120F-4EC1-A8BB-8440DCD2BAC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/>
          </p:nvPr>
        </p:nvSpPr>
        <p:spPr bwMode="hidden">
          <a:xfrm>
            <a:off x="240000" y="5759051"/>
            <a:ext cx="11712000" cy="864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33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867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52000" y="4521600"/>
            <a:ext cx="11088000" cy="72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7333"/>
              </a:lnSpc>
              <a:defRPr sz="4800" cap="all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DC4E1AF-85B9-E248-971A-F4125C6E5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5514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42AC75-A447-4E8C-B99C-6C477755B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F42AC75-A447-4E8C-B99C-6C477755B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944A76-E2DD-4233-8385-429CBA29F34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52000" y="1625276"/>
            <a:ext cx="11088000" cy="72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7333"/>
              </a:lnSpc>
              <a:defRPr sz="4800" cap="all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2176" y="301792"/>
            <a:ext cx="1380227" cy="585216"/>
          </a:xfrm>
          <a:prstGeom prst="rect">
            <a:avLst/>
          </a:prstGeom>
        </p:spPr>
      </p:pic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1840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BB83D58E-2479-4EB7-9A4B-0AE6BB0146F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08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192000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4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0" y="2"/>
            <a:ext cx="1203856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4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24589616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9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ADDF3A1-7E03-4201-800D-3567B83C242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08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Bild durch Klicken auf Symbol hinzufügen</a:t>
            </a:r>
            <a:endParaRPr lang="en-US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5"/>
          </p:nvPr>
        </p:nvSpPr>
        <p:spPr bwMode="hidden">
          <a:xfrm>
            <a:off x="240000" y="5759051"/>
            <a:ext cx="11712000" cy="864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33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4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867"/>
              </a:spcAft>
              <a:buFont typeface="Arial" pitchFamily="34" charset="0"/>
              <a:buNone/>
            </a:pPr>
            <a:r>
              <a:rPr lang="en-US"/>
              <a:t>Mastertextformat bearbeiten</a:t>
            </a:r>
            <a:endParaRPr lang="en-US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192001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08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SAMPLE TITLE ONE OR </a:t>
            </a:r>
            <a:br>
              <a:rPr lang="en-US" dirty="0"/>
            </a:br>
            <a:r>
              <a:rPr lang="en-US" dirty="0"/>
              <a:t>TWO LINES, Delivery, 37 </a:t>
            </a:r>
            <a:r>
              <a:rPr lang="en-US" dirty="0" err="1"/>
              <a:t>pt</a:t>
            </a:r>
            <a:r>
              <a:rPr lang="en-US" dirty="0"/>
              <a:t> | Location | ## Month 20##</a:t>
            </a: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4" y="6192002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551999" y="1473602"/>
            <a:ext cx="5664000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4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933" b="0" i="0" kern="1200" cap="all" baseline="0" dirty="0" smtClean="0">
                <a:solidFill>
                  <a:srgbClr val="D40511"/>
                </a:solidFill>
                <a:latin typeface="+mj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4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/>
              <a:t>section divider with image, Delivery, 37 pt</a:t>
            </a:r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2" y="2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4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CB411558-1334-4BA3-A86E-C9C5DFED9E5E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53347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72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BB83D58E-2479-4EB7-9A4B-0AE6BB0146F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08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192000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4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0" y="2"/>
            <a:ext cx="1203856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4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46762520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5">
            <a:extLst>
              <a:ext uri="{FF2B5EF4-FFF2-40B4-BE49-F238E27FC236}">
                <a16:creationId xmlns:a16="http://schemas.microsoft.com/office/drawing/2014/main" id="{3A8B53D3-AE00-AB4C-A611-66E241EFAF24}"/>
              </a:ext>
            </a:extLst>
          </p:cNvPr>
          <p:cNvSpPr/>
          <p:nvPr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defTabSz="1327084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7">
              <a:solidFill>
                <a:prstClr val="black"/>
              </a:solidFill>
              <a:latin typeface="Arial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D32F061-BA4C-448E-AFE3-012A2685D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7D09EE9-17AE-4635-AFE3-E0D639ABB92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7084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 dirty="0" err="1">
              <a:solidFill>
                <a:prstClr val="black"/>
              </a:solidFill>
              <a:sym typeface="Delivery" panose="020F0503020204020204" pitchFamily="34" charset="0"/>
            </a:endParaRPr>
          </a:p>
        </p:txBody>
      </p: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552001" y="254532"/>
            <a:ext cx="958090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08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Logistics Trend Radar 5th Edition Overview | DHL Trend Research | August 2020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 bwMode="gray">
          <a:xfrm>
            <a:off x="11158684" y="6488399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914377"/>
            <a:fld id="{DBBD357C-3BDF-4D0D-BAB2-A0C0592CF60E}" type="slidenum">
              <a:rPr lang="en-US" sz="1333">
                <a:solidFill>
                  <a:prstClr val="black"/>
                </a:solidFill>
                <a:sym typeface="Delivery" panose="020F0503020204020204" pitchFamily="34" charset="0"/>
              </a:rPr>
              <a:pPr algn="r" defTabSz="914377"/>
              <a:t>‹#›</a:t>
            </a:fld>
            <a:endParaRPr lang="en-US" sz="1333" dirty="0">
              <a:solidFill>
                <a:prstClr val="black"/>
              </a:solidFill>
              <a:sym typeface="Delivery" panose="020F0503020204020204" pitchFamily="34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552452" y="1458547"/>
            <a:ext cx="11091333" cy="43834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 marL="0" indent="0"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2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0880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_white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1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6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2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1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56923"/>
            <a:ext cx="2167467" cy="942983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1976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: picture, gradient bottom_blk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8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1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6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2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1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56923"/>
            <a:ext cx="2167467" cy="942983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0712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: picture, gradient bottom_red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0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1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6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2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1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56923"/>
            <a:ext cx="2167467" cy="942983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524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_white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3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0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7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6221636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8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7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72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474398"/>
            <a:ext cx="2167467" cy="942983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1792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: picture, gradient top_black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5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0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7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6221636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2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2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67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474398"/>
            <a:ext cx="2167467" cy="942983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679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: picture, gradient top_red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38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0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7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6221636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4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3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68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474398"/>
            <a:ext cx="2167467" cy="942983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0243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1FB9862-0C1D-45A6-A6B7-0760D2A1F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0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1FB9862-0C1D-45A6-A6B7-0760D2A1F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696725A-3087-40C6-B421-B44ECAD0F54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6" name="Titel 9"/>
          <p:cNvSpPr>
            <a:spLocks noGrp="1"/>
          </p:cNvSpPr>
          <p:nvPr>
            <p:ph type="title"/>
          </p:nvPr>
        </p:nvSpPr>
        <p:spPr>
          <a:xfrm>
            <a:off x="552000" y="1097113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7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945113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593113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158259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5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6246" y="567177"/>
            <a:ext cx="2185359" cy="92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821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BE897C5-97FD-42EE-AF0E-5D267D6927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2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BE897C5-97FD-42EE-AF0E-5D267D692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366C51F-FF2C-4BE0-8ABD-7B377C1CED8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52000" y="1656552"/>
            <a:ext cx="8208000" cy="1800000"/>
          </a:xfrm>
        </p:spPr>
        <p:txBody>
          <a:bodyPr anchor="t"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2383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icture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DEC7B846-1E1C-BD4C-9770-2A24AA6C53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5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2" y="6488334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1652691"/>
            <a:ext cx="5428672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9225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chevron and pic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9EC273E-BF66-5543-8816-4AFA3866EE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954" y="-3"/>
            <a:ext cx="7491047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37B3641-3061-744A-86CE-5456DC67E5FE}"/>
              </a:ext>
            </a:extLst>
          </p:cNvPr>
          <p:cNvSpPr/>
          <p:nvPr userDrawn="1"/>
        </p:nvSpPr>
        <p:spPr bwMode="auto">
          <a:xfrm>
            <a:off x="-44553" y="0"/>
            <a:ext cx="4557287" cy="6858000"/>
          </a:xfrm>
          <a:prstGeom prst="rect">
            <a:avLst/>
          </a:pr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22A47439-E987-B248-9819-AFA001DDA0E1}"/>
              </a:ext>
            </a:extLst>
          </p:cNvPr>
          <p:cNvSpPr/>
          <p:nvPr userDrawn="1"/>
        </p:nvSpPr>
        <p:spPr bwMode="auto">
          <a:xfrm>
            <a:off x="3186658" y="0"/>
            <a:ext cx="5030567" cy="6858000"/>
          </a:xfrm>
          <a:custGeom>
            <a:avLst/>
            <a:gdLst>
              <a:gd name="connsiteX0" fmla="*/ 0 w 3834765"/>
              <a:gd name="connsiteY0" fmla="*/ 0 h 5166360"/>
              <a:gd name="connsiteX1" fmla="*/ 0 w 3834765"/>
              <a:gd name="connsiteY1" fmla="*/ 5166360 h 5166360"/>
              <a:gd name="connsiteX2" fmla="*/ 680085 w 3834765"/>
              <a:gd name="connsiteY2" fmla="*/ 5166360 h 5166360"/>
              <a:gd name="connsiteX3" fmla="*/ 1737360 w 3834765"/>
              <a:gd name="connsiteY3" fmla="*/ 5166360 h 5166360"/>
              <a:gd name="connsiteX4" fmla="*/ 3834765 w 3834765"/>
              <a:gd name="connsiteY4" fmla="*/ 2583180 h 5166360"/>
              <a:gd name="connsiteX5" fmla="*/ 1428750 w 3834765"/>
              <a:gd name="connsiteY5" fmla="*/ 0 h 5166360"/>
              <a:gd name="connsiteX6" fmla="*/ 0 w 3834765"/>
              <a:gd name="connsiteY6" fmla="*/ 0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34765" h="5166360">
                <a:moveTo>
                  <a:pt x="0" y="0"/>
                </a:moveTo>
                <a:lnTo>
                  <a:pt x="0" y="5166360"/>
                </a:lnTo>
                <a:lnTo>
                  <a:pt x="680085" y="5166360"/>
                </a:lnTo>
                <a:lnTo>
                  <a:pt x="1737360" y="5166360"/>
                </a:lnTo>
                <a:lnTo>
                  <a:pt x="3834765" y="2583180"/>
                </a:lnTo>
                <a:lnTo>
                  <a:pt x="1428750" y="0"/>
                </a:lnTo>
                <a:lnTo>
                  <a:pt x="0" y="0"/>
                </a:lnTo>
                <a:close/>
              </a:path>
            </a:pathLst>
          </a:cu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223DD813-ED9B-E34A-8364-EBAA3A6A489D}"/>
              </a:ext>
            </a:extLst>
          </p:cNvPr>
          <p:cNvSpPr/>
          <p:nvPr userDrawn="1"/>
        </p:nvSpPr>
        <p:spPr bwMode="auto">
          <a:xfrm>
            <a:off x="3235147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highlight>
                <a:srgbClr val="B2B2B2"/>
              </a:highlight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477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GB"/>
              <a:t>Presentation title | Location | xx Month 20xx</a:t>
            </a:r>
            <a:endParaRPr lang="en-GB" dirty="0"/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2" y="6488334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2485341"/>
            <a:ext cx="5664000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109B6C-5B73-5D4B-A35E-4E6CA144A4AB}"/>
              </a:ext>
            </a:extLst>
          </p:cNvPr>
          <p:cNvSpPr txBox="1"/>
          <p:nvPr userDrawn="1"/>
        </p:nvSpPr>
        <p:spPr>
          <a:xfrm>
            <a:off x="6776186" y="-250257"/>
            <a:ext cx="65" cy="2708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667"/>
              </a:spcAft>
            </a:pPr>
            <a:endParaRPr lang="en-US" sz="1600" dirty="0" err="1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793E5C9C-E448-3946-B65B-BFB80DCBB2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9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3399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: chevron and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9EC273E-BF66-5543-8816-4AFA3866EE1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955" y="-3"/>
            <a:ext cx="7491047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37B3641-3061-744A-86CE-5456DC67E5FE}"/>
              </a:ext>
            </a:extLst>
          </p:cNvPr>
          <p:cNvSpPr/>
          <p:nvPr/>
        </p:nvSpPr>
        <p:spPr bwMode="auto">
          <a:xfrm>
            <a:off x="-44552" y="0"/>
            <a:ext cx="4557287" cy="6858000"/>
          </a:xfrm>
          <a:prstGeom prst="rect">
            <a:avLst/>
          </a:pr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084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prstClr val="black"/>
              </a:solidFill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22A47439-E987-B248-9819-AFA001DDA0E1}"/>
              </a:ext>
            </a:extLst>
          </p:cNvPr>
          <p:cNvSpPr/>
          <p:nvPr/>
        </p:nvSpPr>
        <p:spPr bwMode="auto">
          <a:xfrm>
            <a:off x="3186659" y="0"/>
            <a:ext cx="5030567" cy="6858000"/>
          </a:xfrm>
          <a:custGeom>
            <a:avLst/>
            <a:gdLst>
              <a:gd name="connsiteX0" fmla="*/ 0 w 3834765"/>
              <a:gd name="connsiteY0" fmla="*/ 0 h 5166360"/>
              <a:gd name="connsiteX1" fmla="*/ 0 w 3834765"/>
              <a:gd name="connsiteY1" fmla="*/ 5166360 h 5166360"/>
              <a:gd name="connsiteX2" fmla="*/ 680085 w 3834765"/>
              <a:gd name="connsiteY2" fmla="*/ 5166360 h 5166360"/>
              <a:gd name="connsiteX3" fmla="*/ 1737360 w 3834765"/>
              <a:gd name="connsiteY3" fmla="*/ 5166360 h 5166360"/>
              <a:gd name="connsiteX4" fmla="*/ 3834765 w 3834765"/>
              <a:gd name="connsiteY4" fmla="*/ 2583180 h 5166360"/>
              <a:gd name="connsiteX5" fmla="*/ 1428750 w 3834765"/>
              <a:gd name="connsiteY5" fmla="*/ 0 h 5166360"/>
              <a:gd name="connsiteX6" fmla="*/ 0 w 3834765"/>
              <a:gd name="connsiteY6" fmla="*/ 0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34765" h="5166360">
                <a:moveTo>
                  <a:pt x="0" y="0"/>
                </a:moveTo>
                <a:lnTo>
                  <a:pt x="0" y="5166360"/>
                </a:lnTo>
                <a:lnTo>
                  <a:pt x="680085" y="5166360"/>
                </a:lnTo>
                <a:lnTo>
                  <a:pt x="1737360" y="5166360"/>
                </a:lnTo>
                <a:lnTo>
                  <a:pt x="3834765" y="2583180"/>
                </a:lnTo>
                <a:lnTo>
                  <a:pt x="1428750" y="0"/>
                </a:lnTo>
                <a:lnTo>
                  <a:pt x="0" y="0"/>
                </a:lnTo>
                <a:close/>
              </a:path>
            </a:pathLst>
          </a:cu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08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dirty="0" err="1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223DD813-ED9B-E34A-8364-EBAA3A6A489D}"/>
              </a:ext>
            </a:extLst>
          </p:cNvPr>
          <p:cNvSpPr/>
          <p:nvPr/>
        </p:nvSpPr>
        <p:spPr bwMode="auto">
          <a:xfrm>
            <a:off x="3235148" y="-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084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prstClr val="black"/>
              </a:solidFill>
              <a:highlight>
                <a:srgbClr val="B2B2B2"/>
              </a:highlight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7084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3" dirty="0" err="1">
              <a:solidFill>
                <a:prstClr val="black"/>
              </a:solidFill>
              <a:sym typeface="Delivery" panose="020F0503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08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Logistics Trend Radar 5th Edition Overview | DHL Trend Research | August 2020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4" y="6488335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C859CDF4-D295-4C86-BAFC-CD3154379CFE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2485342"/>
            <a:ext cx="5664000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4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4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2" y="2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4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109B6C-5B73-5D4B-A35E-4E6CA144A4AB}"/>
              </a:ext>
            </a:extLst>
          </p:cNvPr>
          <p:cNvSpPr txBox="1"/>
          <p:nvPr/>
        </p:nvSpPr>
        <p:spPr>
          <a:xfrm>
            <a:off x="6776187" y="-250257"/>
            <a:ext cx="65" cy="2708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7">
              <a:lnSpc>
                <a:spcPct val="110000"/>
              </a:lnSpc>
              <a:spcAft>
                <a:spcPts val="667"/>
              </a:spcAft>
            </a:pPr>
            <a:endParaRPr lang="en-US" sz="1600" dirty="0" err="1">
              <a:solidFill>
                <a:prstClr val="black"/>
              </a:solidFill>
            </a:endParaRP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793E5C9C-E448-3946-B65B-BFB80DCBB2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1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62008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8B84C1-B965-470D-A97F-7C63518E6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8B84C1-B965-470D-A97F-7C63518E6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C822327-C4FB-4B8E-A218-AE296D626B6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6"/>
          </p:nvPr>
        </p:nvSpPr>
        <p:spPr bwMode="gray">
          <a:xfrm>
            <a:off x="552000" y="1458545"/>
            <a:ext cx="5400000" cy="4168155"/>
          </a:xfrm>
          <a:prstGeom prst="rect">
            <a:avLst/>
          </a:prstGeom>
        </p:spPr>
        <p:txBody>
          <a:bodyPr lIns="0" tIns="0" rIns="0" bIns="0"/>
          <a:lstStyle>
            <a:lvl1pPr marL="355591" marR="0" indent="-355591" algn="l" defTabSz="1219170" rtl="0" eaLnBrk="1" fontAlgn="auto" latinLnBrk="0" hangingPunct="1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6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591" marR="0" indent="0" algn="l" defTabSz="1219170" rtl="0" eaLnBrk="1" fontAlgn="auto" latinLnBrk="0" hangingPunct="1">
              <a:lnSpc>
                <a:spcPct val="100000"/>
              </a:lnSpc>
              <a:spcAft>
                <a:spcPts val="667"/>
              </a:spcAft>
              <a:buClrTx/>
              <a:buSzTx/>
              <a:buFontTx/>
              <a:buNone/>
              <a:tabLst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21" name="Textplatzhalter 18"/>
          <p:cNvSpPr>
            <a:spLocks noGrp="1"/>
          </p:cNvSpPr>
          <p:nvPr>
            <p:ph type="body" sz="quarter" idx="26"/>
          </p:nvPr>
        </p:nvSpPr>
        <p:spPr bwMode="gray">
          <a:xfrm>
            <a:off x="6244200" y="1458545"/>
            <a:ext cx="5400000" cy="4168155"/>
          </a:xfrm>
          <a:prstGeom prst="rect">
            <a:avLst/>
          </a:prstGeom>
        </p:spPr>
        <p:txBody>
          <a:bodyPr lIns="0" tIns="0" rIns="0" bIns="0"/>
          <a:lstStyle>
            <a:lvl1pPr marL="355591" marR="0" indent="-355591" algn="l" defTabSz="1219170" rtl="0" eaLnBrk="1" fontAlgn="auto" latinLnBrk="0" hangingPunct="1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6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591" marR="0" indent="0" algn="l" defTabSz="1219170" rtl="0" eaLnBrk="1" fontAlgn="auto" latinLnBrk="0" hangingPunct="1">
              <a:lnSpc>
                <a:spcPct val="100000"/>
              </a:lnSpc>
              <a:spcAft>
                <a:spcPts val="667"/>
              </a:spcAft>
              <a:buClrTx/>
              <a:buSzTx/>
              <a:buFontTx/>
              <a:buNone/>
              <a:tabLst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552000" y="254530"/>
            <a:ext cx="8526563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9" name="Textfeld 18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6" name="Rechteck 5">
            <a:extLst>
              <a:ext uri="{FF2B5EF4-FFF2-40B4-BE49-F238E27FC236}">
                <a16:creationId xmlns:a16="http://schemas.microsoft.com/office/drawing/2014/main" id="{85D99883-DB49-B94C-855F-11AE75ADD806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2841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3 pictures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CC54D76-52BE-4958-8E9F-49D56CCD05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2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CC54D76-52BE-4958-8E9F-49D56CCD0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E67424-2D29-4257-A62A-2C0781F9F78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/>
          </p:nvPr>
        </p:nvSpPr>
        <p:spPr bwMode="gray">
          <a:xfrm>
            <a:off x="551999" y="1458545"/>
            <a:ext cx="5400000" cy="2678400"/>
          </a:xfrm>
          <a:prstGeom prst="rect">
            <a:avLst/>
          </a:prstGeom>
        </p:spPr>
        <p:txBody>
          <a:bodyPr lIns="0" tIns="0" rIns="0" bIns="0"/>
          <a:lstStyle>
            <a:lvl1pPr marL="355591" marR="0" indent="-355591" algn="l" defTabSz="1219170" rtl="0" eaLnBrk="1" fontAlgn="auto" latinLnBrk="0" hangingPunct="1">
              <a:lnSpc>
                <a:spcPct val="10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6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591" marR="0" indent="0" algn="l" defTabSz="1219170" rtl="0" eaLnBrk="1" fontAlgn="auto" latinLnBrk="0" hangingPunct="1">
              <a:lnSpc>
                <a:spcPct val="100000"/>
              </a:lnSpc>
              <a:spcAft>
                <a:spcPts val="667"/>
              </a:spcAft>
              <a:buClrTx/>
              <a:buSzTx/>
              <a:buFontTx/>
              <a:buNone/>
              <a:tabLst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591" marR="0" algn="l" defTabSz="121917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7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514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40200" y="4186700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7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736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360200" y="4186700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7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958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80200" y="4186700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7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>
          <a:xfrm>
            <a:off x="552000" y="254530"/>
            <a:ext cx="8502696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33" name="Textfeld 32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0" name="Rechteck 5">
            <a:extLst>
              <a:ext uri="{FF2B5EF4-FFF2-40B4-BE49-F238E27FC236}">
                <a16:creationId xmlns:a16="http://schemas.microsoft.com/office/drawing/2014/main" id="{D734060B-2F4F-964D-A93A-15D61CC85C67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371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5">
            <a:extLst>
              <a:ext uri="{FF2B5EF4-FFF2-40B4-BE49-F238E27FC236}">
                <a16:creationId xmlns:a16="http://schemas.microsoft.com/office/drawing/2014/main" id="{3A8B53D3-AE00-AB4C-A611-66E241EFAF24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D32F061-BA4C-448E-AFE3-012A2685D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4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D32F061-BA4C-448E-AFE3-012A2685D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7D09EE9-17AE-4635-AFE3-E0D639ABB92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552000" y="254530"/>
            <a:ext cx="958090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552451" y="1458546"/>
            <a:ext cx="11091333" cy="43834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 marL="0" indent="0"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5481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03D961C-85E5-4817-A147-B2D8A18D64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57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03D961C-85E5-4817-A147-B2D8A18D64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D7D1918-7069-4B4E-A603-83084F5BC9B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552000" y="254530"/>
            <a:ext cx="945898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781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5" name="Textfeld 14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3A8B53D3-AE00-AB4C-A611-66E241EFAF24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69830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54">
          <p15:clr>
            <a:srgbClr val="FBAE40"/>
          </p15:clr>
        </p15:guide>
        <p15:guide id="2" pos="249">
          <p15:clr>
            <a:srgbClr val="FBAE40"/>
          </p15:clr>
        </p15:guide>
        <p15:guide id="3" pos="551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2 columns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074651-BF6A-4ED8-B928-F780E23F62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9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074651-BF6A-4ED8-B928-F780E23F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91F3376-AE03-45BE-BEA5-5C2ABCE342E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552000" y="254530"/>
            <a:ext cx="958090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6242051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Rechteck 5">
            <a:extLst>
              <a:ext uri="{FF2B5EF4-FFF2-40B4-BE49-F238E27FC236}">
                <a16:creationId xmlns:a16="http://schemas.microsoft.com/office/drawing/2014/main" id="{BFB12557-D5F4-1E46-B0CF-260101BFBE07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9282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picture boxes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A0A2A26-BC8D-4642-82D5-CB7489ABE2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2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A0A2A26-BC8D-4642-82D5-CB7489ABE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DF84CFF-5E2D-4888-9AAB-7A51BB2E683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960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22124A0A-F575-40C4-BD79-2D1A0E93D6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ltGray">
          <a:xfrm>
            <a:off x="6242049" y="1458546"/>
            <a:ext cx="5400000" cy="439403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6D7758A1-F895-4BFD-ACEB-EE8374FBC4A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ltGray">
          <a:xfrm>
            <a:off x="552451" y="1458546"/>
            <a:ext cx="5400000" cy="439403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ußzeilenplatzhalter 33">
            <a:extLst>
              <a:ext uri="{FF2B5EF4-FFF2-40B4-BE49-F238E27FC236}">
                <a16:creationId xmlns:a16="http://schemas.microsoft.com/office/drawing/2014/main" id="{AA75FEA1-1BC7-4045-92F0-E1B9E12119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6C1C95DF-AFF3-1146-AC81-EFBEAAF1815E}"/>
              </a:ext>
            </a:extLst>
          </p:cNvPr>
          <p:cNvSpPr txBox="1"/>
          <p:nvPr userDrawn="1"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4" name="Rechteck 5">
            <a:extLst>
              <a:ext uri="{FF2B5EF4-FFF2-40B4-BE49-F238E27FC236}">
                <a16:creationId xmlns:a16="http://schemas.microsoft.com/office/drawing/2014/main" id="{348310D2-3AEB-CA4E-B9D3-95B821099874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3266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ight image full screen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4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C7D316E7-59A8-F640-BD69-264A352B4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30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light image full screen_Blk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1C20BE7-4A3E-B44A-BE89-F16F541BA8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23" y="301792"/>
            <a:ext cx="1373607" cy="590192"/>
          </a:xfrm>
          <a:blipFill dpi="0" rotWithShape="1">
            <a:blip r:embed="rId6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69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194222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light image full screen_RD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69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5066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darkimage full screen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1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A254E98-BA85-2B43-9A9F-BD9D132A092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0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2514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: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DEC7B846-1E1C-BD4C-9770-2A24AA6C53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1" y="101652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7084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800" dirty="0" err="1">
              <a:solidFill>
                <a:prstClr val="black"/>
              </a:solidFill>
              <a:latin typeface="Delivery Cd Black" panose="020F0906020204020204" pitchFamily="34" charset="0"/>
              <a:sym typeface="Delivery Cd Black" panose="020F0906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08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Trend Research Strategy Day | Cologne | August 2020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4" y="6488335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1652693"/>
            <a:ext cx="5428672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4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800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4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2" y="2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4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2"/>
            <a:ext cx="1373607" cy="590192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95605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dark image full screen_Red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849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dark image full screen_white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6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6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C5EC62C3-8B17-8C4B-B121-0F2083AA55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574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ox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42D98AA-714B-4563-8BBF-05617BF23D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8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42D98AA-714B-4563-8BBF-05617BF23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B9BC3D-7687-4754-8C48-0129DCDB8B5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 bwMode="hidden">
          <a:xfrm>
            <a:off x="552000" y="5231662"/>
            <a:ext cx="7008000" cy="111041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3200" cap="none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0" name="Fußzeilenplatzhalter 33">
            <a:extLst>
              <a:ext uri="{FF2B5EF4-FFF2-40B4-BE49-F238E27FC236}">
                <a16:creationId xmlns:a16="http://schemas.microsoft.com/office/drawing/2014/main" id="{F31937AF-5FB6-8C42-9CA1-014B87D358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DBF2570E-4CB6-6A45-8364-CC294C6B1B63}"/>
              </a:ext>
            </a:extLst>
          </p:cNvPr>
          <p:cNvSpPr txBox="1"/>
          <p:nvPr userDrawn="1"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7" name="Rechteck 5">
            <a:extLst>
              <a:ext uri="{FF2B5EF4-FFF2-40B4-BE49-F238E27FC236}">
                <a16:creationId xmlns:a16="http://schemas.microsoft.com/office/drawing/2014/main" id="{170F4D5D-60EE-A344-A164-FE56350E90AD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4059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r yellow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81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200" cap="none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9292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r white big chevron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3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333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6" name="Fußzeilenplatzhalter 33">
            <a:extLst>
              <a:ext uri="{FF2B5EF4-FFF2-40B4-BE49-F238E27FC236}">
                <a16:creationId xmlns:a16="http://schemas.microsoft.com/office/drawing/2014/main" id="{909969C5-E1A0-4533-813E-4D6AAAD0FE1B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E9DAAFB-E571-43FE-BB08-66B4FE4B6D7D}"/>
              </a:ext>
            </a:extLst>
          </p:cNvPr>
          <p:cNvSpPr txBox="1"/>
          <p:nvPr userDrawn="1"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21" name="meta-classification">
            <a:extLst>
              <a:ext uri="{FF2B5EF4-FFF2-40B4-BE49-F238E27FC236}">
                <a16:creationId xmlns:a16="http://schemas.microsoft.com/office/drawing/2014/main" id="{761ACE6D-5A53-4AEA-B1C8-994671C1DF42}"/>
              </a:ext>
            </a:extLst>
          </p:cNvPr>
          <p:cNvSpPr>
            <a:spLocks noGrp="1"/>
          </p:cNvSpPr>
          <p:nvPr userDrawn="1"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8" name="Rechteck 5">
            <a:extLst>
              <a:ext uri="{FF2B5EF4-FFF2-40B4-BE49-F238E27FC236}">
                <a16:creationId xmlns:a16="http://schemas.microsoft.com/office/drawing/2014/main" id="{C275A383-3E1C-A142-A30E-ADE1835996A5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8066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breaker white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6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3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333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1D70156B-B93C-5B44-8557-FE71F0111FA3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1253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FE7DC0F-358C-473E-8A5C-44BF688CC2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8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FE7DC0F-358C-473E-8A5C-44BF688CC2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1A87659-B712-4DDD-B687-9D586E964DC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552000" y="1458546"/>
            <a:ext cx="11088000" cy="399764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9170" rtl="0" eaLnBrk="1" fontAlgn="auto" latinLnBrk="0" hangingPunct="1">
              <a:lnSpc>
                <a:spcPct val="110000"/>
              </a:lnSpc>
              <a:spcBef>
                <a:spcPts val="1867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b="1" baseline="0">
                <a:latin typeface="+mn-lt"/>
                <a:sym typeface="Delivery" panose="020F0503020204020204" pitchFamily="34" charset="0"/>
              </a:defRPr>
            </a:lvl1pPr>
            <a:lvl2pPr>
              <a:spcAft>
                <a:spcPts val="0"/>
              </a:spcAft>
              <a:buFontTx/>
              <a:buNone/>
              <a:defRPr sz="1600" b="0" baseline="0">
                <a:latin typeface="+mn-lt"/>
                <a:sym typeface="Delivery" panose="020F0503020204020204" pitchFamily="34" charset="0"/>
              </a:defRPr>
            </a:lvl2pPr>
            <a:lvl3pPr>
              <a:spcAft>
                <a:spcPts val="0"/>
              </a:spcAft>
              <a:buClr>
                <a:schemeClr val="tx1"/>
              </a:buClr>
              <a:defRPr sz="1600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600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600" baseline="0"/>
            </a:lvl5pPr>
          </a:lstStyle>
          <a:p>
            <a:pPr lvl="0"/>
            <a:endParaRPr lang="en-US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52000" y="254530"/>
            <a:ext cx="961816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Presentation title | Location | xx Month 20xx</a:t>
            </a:r>
            <a:endParaRPr lang="en-US" dirty="0"/>
          </a:p>
        </p:txBody>
      </p:sp>
      <p:sp>
        <p:nvSpPr>
          <p:cNvPr id="17" name="Textfeld 16"/>
          <p:cNvSpPr txBox="1"/>
          <p:nvPr/>
        </p:nvSpPr>
        <p:spPr bwMode="gray">
          <a:xfrm>
            <a:off x="11158683" y="6488397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 smtClean="0">
                <a:latin typeface="+mn-lt"/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latin typeface="+mn-lt"/>
              <a:sym typeface="Delivery" panose="020F0503020204020204" pitchFamily="34" charset="0"/>
            </a:endParaRPr>
          </a:p>
        </p:txBody>
      </p:sp>
      <p:sp>
        <p:nvSpPr>
          <p:cNvPr id="11" name="Rechteck 5">
            <a:extLst>
              <a:ext uri="{FF2B5EF4-FFF2-40B4-BE49-F238E27FC236}">
                <a16:creationId xmlns:a16="http://schemas.microsoft.com/office/drawing/2014/main" id="{DDF1C2CF-74CD-0042-BDE3-5403198B24CF}"/>
              </a:ext>
            </a:extLst>
          </p:cNvPr>
          <p:cNvSpPr/>
          <p:nvPr userDrawn="1"/>
        </p:nvSpPr>
        <p:spPr bwMode="hidden">
          <a:xfrm rot="16200000">
            <a:off x="10268454" y="-835066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2000" tIns="192000" rIns="192000" bIns="19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0350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 baseline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D975E8-4A2D-4793-B144-5026BEC0F6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0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D975E8-4A2D-4793-B144-5026BEC0F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2BDB349-120F-4EC1-A8BB-8440DCD2BAC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/>
          </p:nvPr>
        </p:nvSpPr>
        <p:spPr bwMode="hidden">
          <a:xfrm>
            <a:off x="240000" y="5759051"/>
            <a:ext cx="11712000" cy="864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33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867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52000" y="4521600"/>
            <a:ext cx="11088000" cy="72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7333"/>
              </a:lnSpc>
              <a:defRPr sz="4800" cap="all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DC4E1AF-85B9-E248-971A-F4125C6E5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7" y="301792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9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27375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42AC75-A447-4E8C-B99C-6C477755B2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3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F42AC75-A447-4E8C-B99C-6C477755B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C944A76-E2DD-4233-8385-429CBA29F34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5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52000" y="1625276"/>
            <a:ext cx="11088000" cy="72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7333"/>
              </a:lnSpc>
              <a:defRPr sz="4800" cap="all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2176" y="301792"/>
            <a:ext cx="1380227" cy="585216"/>
          </a:xfrm>
          <a:prstGeom prst="rect">
            <a:avLst/>
          </a:prstGeom>
        </p:spPr>
      </p:pic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9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4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: light image full screen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5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BB83D58E-2479-4EB7-9A4B-0AE6BB0146F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08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192000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4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0" y="2"/>
            <a:ext cx="1203856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4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86837909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BB83D58E-2479-4EB7-9A4B-0AE6BB0146F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399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192000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0" y="2"/>
            <a:ext cx="1203856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42140506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ADDF3A1-7E03-4201-800D-3567B83C242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08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n-ea"/>
              <a:cs typeface="+mn-cs"/>
              <a:sym typeface="Delivery" panose="020F0503020204020204" pitchFamily="34" charset="0"/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Bild durch Klicken auf Symbol hinzufügen</a:t>
            </a:r>
            <a:endParaRPr lang="en-US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5"/>
          </p:nvPr>
        </p:nvSpPr>
        <p:spPr bwMode="hidden">
          <a:xfrm>
            <a:off x="240000" y="5759051"/>
            <a:ext cx="11712000" cy="864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33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4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867"/>
              </a:spcAft>
              <a:buFont typeface="Arial" pitchFamily="34" charset="0"/>
              <a:buNone/>
            </a:pPr>
            <a:r>
              <a:rPr lang="en-US"/>
              <a:t>Mastertextformat bearbeiten</a:t>
            </a:r>
            <a:endParaRPr lang="en-US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192001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708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SAMPLE TITLE ONE OR </a:t>
            </a:r>
            <a:br>
              <a:rPr lang="en-US" dirty="0"/>
            </a:br>
            <a:r>
              <a:rPr lang="en-US" dirty="0"/>
              <a:t>TWO LINES, Delivery, 37 </a:t>
            </a:r>
            <a:r>
              <a:rPr lang="en-US" dirty="0" err="1"/>
              <a:t>pt</a:t>
            </a:r>
            <a:r>
              <a:rPr lang="en-US" dirty="0"/>
              <a:t> | Location | ## Month 20##</a:t>
            </a: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4" y="6192002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551999" y="1473602"/>
            <a:ext cx="5664000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4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933" b="0" i="0" kern="1200" cap="all" baseline="0" dirty="0" smtClean="0">
                <a:solidFill>
                  <a:srgbClr val="D40511"/>
                </a:solidFill>
                <a:latin typeface="+mj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914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/>
              <a:t>section divider with image, Delivery, 37 pt</a:t>
            </a:r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2" y="2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4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CB411558-1334-4BA3-A86E-C9C5DFED9E5E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364461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ntent: light image full screen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0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BB83D58E-2479-4EB7-9A4B-0AE6BB0146F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08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192000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4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0" y="2"/>
            <a:ext cx="1203856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4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92924732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4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2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6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2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7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3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798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2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56922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3549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: picture, gradient bottom_b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6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2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6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2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7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3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798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2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56922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0960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: picture, gradient botto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9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2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6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2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7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3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798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2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56922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6090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1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8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6221637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9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9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72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474398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2780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: picture, gradient top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54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8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6221637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2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3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67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474398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8173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: picture, gradient top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14E51684-DC21-48BD-B326-E04A7644AD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6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14E51684-DC21-48BD-B326-E04A7644A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23AB246-17A4-434D-BC49-05FD06E760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240000" y="24000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accent3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52000" y="1095218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336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6221637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C02FEC3D-2258-4662-A715-8FF451332B6A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513600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3552825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4205625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770768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3779CA-9512-403C-BA6B-6F708F0F2C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80" y="5474398"/>
            <a:ext cx="2167467" cy="942984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6643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1FB9862-0C1D-45A6-A6B7-0760D2A1F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1FB9862-0C1D-45A6-A6B7-0760D2A1F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696725A-3087-40C6-B421-B44ECAD0F54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Titel 9"/>
          <p:cNvSpPr>
            <a:spLocks noGrp="1"/>
          </p:cNvSpPr>
          <p:nvPr>
            <p:ph type="title"/>
          </p:nvPr>
        </p:nvSpPr>
        <p:spPr>
          <a:xfrm>
            <a:off x="552000" y="1097114"/>
            <a:ext cx="11088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599" b="1"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7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945114"/>
            <a:ext cx="11088000" cy="5800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6686" rtl="0" eaLnBrk="0" fontAlgn="base" latinLnBrk="0" hangingPunct="0">
              <a:lnSpc>
                <a:spcPct val="100000"/>
              </a:lnSpc>
              <a:spcAft>
                <a:spcPts val="0"/>
              </a:spcAft>
              <a:defRPr sz="2399">
                <a:latin typeface="+mn-lt"/>
                <a:sym typeface="Delivery" panose="020F0503020204020204" pitchFamily="34" charset="0"/>
              </a:defRPr>
            </a:lvl1pPr>
            <a:lvl2pPr marL="0" algn="l" defTabSz="1326686" rtl="0" eaLnBrk="0" fontAlgn="base" latinLnBrk="0" hangingPunct="0">
              <a:spcAft>
                <a:spcPts val="2133"/>
              </a:spcAft>
              <a:defRPr lang="en-US" sz="2666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6686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593114"/>
            <a:ext cx="11088000" cy="30062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4158259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599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6" b="0" baseline="0"/>
            </a:lvl2pPr>
          </a:lstStyle>
          <a:p>
            <a:endParaRPr lang="en-US" dirty="0"/>
          </a:p>
        </p:txBody>
      </p:sp>
      <p:sp>
        <p:nvSpPr>
          <p:cNvPr id="15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6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6247" y="567177"/>
            <a:ext cx="2185359" cy="926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874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BE897C5-97FD-42EE-AF0E-5D267D6927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1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BE897C5-97FD-42EE-AF0E-5D267D6927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366C51F-FF2C-4BE0-8ABD-7B377C1CED8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52000" y="1656552"/>
            <a:ext cx="8208000" cy="1800000"/>
          </a:xfrm>
        </p:spPr>
        <p:txBody>
          <a:bodyPr anchor="t"/>
          <a:lstStyle>
            <a:lvl1pPr>
              <a:lnSpc>
                <a:spcPct val="90000"/>
              </a:lnSpc>
              <a:defRPr sz="4798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0165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7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1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6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2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1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56923"/>
            <a:ext cx="2167467" cy="942983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1803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1"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DEC7B846-1E1C-BD4C-9770-2A24AA6C53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1" y="101653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4" y="6488335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de-DE" smtClean="0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1652691"/>
            <a:ext cx="5428672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7505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chevron and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9EC273E-BF66-5543-8816-4AFA3866EE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955" y="-3"/>
            <a:ext cx="7491047" cy="685800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37B3641-3061-744A-86CE-5456DC67E5FE}"/>
              </a:ext>
            </a:extLst>
          </p:cNvPr>
          <p:cNvSpPr/>
          <p:nvPr userDrawn="1"/>
        </p:nvSpPr>
        <p:spPr bwMode="auto">
          <a:xfrm>
            <a:off x="-44552" y="0"/>
            <a:ext cx="4557287" cy="6858000"/>
          </a:xfrm>
          <a:prstGeom prst="rect">
            <a:avLst/>
          </a:pr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5970" tIns="47985" rIns="47985" bIns="47985" numCol="1" rtlCol="0" anchor="t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599" dirty="0" err="1">
              <a:solidFill>
                <a:srgbClr val="000000"/>
              </a:solidFill>
            </a:endParaRP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22A47439-E987-B248-9819-AFA001DDA0E1}"/>
              </a:ext>
            </a:extLst>
          </p:cNvPr>
          <p:cNvSpPr/>
          <p:nvPr userDrawn="1"/>
        </p:nvSpPr>
        <p:spPr bwMode="auto">
          <a:xfrm>
            <a:off x="3186659" y="0"/>
            <a:ext cx="5030567" cy="6858000"/>
          </a:xfrm>
          <a:custGeom>
            <a:avLst/>
            <a:gdLst>
              <a:gd name="connsiteX0" fmla="*/ 0 w 3834765"/>
              <a:gd name="connsiteY0" fmla="*/ 0 h 5166360"/>
              <a:gd name="connsiteX1" fmla="*/ 0 w 3834765"/>
              <a:gd name="connsiteY1" fmla="*/ 5166360 h 5166360"/>
              <a:gd name="connsiteX2" fmla="*/ 680085 w 3834765"/>
              <a:gd name="connsiteY2" fmla="*/ 5166360 h 5166360"/>
              <a:gd name="connsiteX3" fmla="*/ 1737360 w 3834765"/>
              <a:gd name="connsiteY3" fmla="*/ 5166360 h 5166360"/>
              <a:gd name="connsiteX4" fmla="*/ 3834765 w 3834765"/>
              <a:gd name="connsiteY4" fmla="*/ 2583180 h 5166360"/>
              <a:gd name="connsiteX5" fmla="*/ 1428750 w 3834765"/>
              <a:gd name="connsiteY5" fmla="*/ 0 h 5166360"/>
              <a:gd name="connsiteX6" fmla="*/ 0 w 3834765"/>
              <a:gd name="connsiteY6" fmla="*/ 0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34765" h="5166360">
                <a:moveTo>
                  <a:pt x="0" y="0"/>
                </a:moveTo>
                <a:lnTo>
                  <a:pt x="0" y="5166360"/>
                </a:lnTo>
                <a:lnTo>
                  <a:pt x="680085" y="5166360"/>
                </a:lnTo>
                <a:lnTo>
                  <a:pt x="1737360" y="5166360"/>
                </a:lnTo>
                <a:lnTo>
                  <a:pt x="3834765" y="2583180"/>
                </a:lnTo>
                <a:lnTo>
                  <a:pt x="1428750" y="0"/>
                </a:lnTo>
                <a:lnTo>
                  <a:pt x="0" y="0"/>
                </a:lnTo>
                <a:close/>
              </a:path>
            </a:pathLst>
          </a:custGeom>
          <a:solidFill>
            <a:srgbClr val="E3E4E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5970" tIns="47985" rIns="47985" bIns="47985" numCol="1" rtlCol="0" anchor="t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99" dirty="0" err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223DD813-ED9B-E34A-8364-EBAA3A6A489D}"/>
              </a:ext>
            </a:extLst>
          </p:cNvPr>
          <p:cNvSpPr/>
          <p:nvPr userDrawn="1"/>
        </p:nvSpPr>
        <p:spPr bwMode="auto">
          <a:xfrm>
            <a:off x="3235148" y="1"/>
            <a:ext cx="7039445" cy="6859905"/>
          </a:xfrm>
          <a:custGeom>
            <a:avLst/>
            <a:gdLst>
              <a:gd name="connsiteX0" fmla="*/ 0 w 5274945"/>
              <a:gd name="connsiteY0" fmla="*/ 0 h 5154930"/>
              <a:gd name="connsiteX1" fmla="*/ 1765935 w 5274945"/>
              <a:gd name="connsiteY1" fmla="*/ 0 h 5154930"/>
              <a:gd name="connsiteX2" fmla="*/ 4109085 w 5274945"/>
              <a:gd name="connsiteY2" fmla="*/ 2600325 h 5154930"/>
              <a:gd name="connsiteX3" fmla="*/ 2200275 w 5274945"/>
              <a:gd name="connsiteY3" fmla="*/ 4709160 h 5154930"/>
              <a:gd name="connsiteX4" fmla="*/ 2771775 w 5274945"/>
              <a:gd name="connsiteY4" fmla="*/ 4709160 h 5154930"/>
              <a:gd name="connsiteX5" fmla="*/ 4663440 w 5274945"/>
              <a:gd name="connsiteY5" fmla="*/ 2588895 h 5154930"/>
              <a:gd name="connsiteX6" fmla="*/ 2977515 w 5274945"/>
              <a:gd name="connsiteY6" fmla="*/ 731520 h 5154930"/>
              <a:gd name="connsiteX7" fmla="*/ 3606165 w 5274945"/>
              <a:gd name="connsiteY7" fmla="*/ 731520 h 5154930"/>
              <a:gd name="connsiteX8" fmla="*/ 5274945 w 5274945"/>
              <a:gd name="connsiteY8" fmla="*/ 2594610 h 5154930"/>
              <a:gd name="connsiteX9" fmla="*/ 2971800 w 5274945"/>
              <a:gd name="connsiteY9" fmla="*/ 5154930 h 5154930"/>
              <a:gd name="connsiteX10" fmla="*/ 1177290 w 5274945"/>
              <a:gd name="connsiteY10" fmla="*/ 5154930 h 5154930"/>
              <a:gd name="connsiteX11" fmla="*/ 3480435 w 5274945"/>
              <a:gd name="connsiteY11" fmla="*/ 2588895 h 5154930"/>
              <a:gd name="connsiteX12" fmla="*/ 1583055 w 5274945"/>
              <a:gd name="connsiteY12" fmla="*/ 497205 h 5154930"/>
              <a:gd name="connsiteX13" fmla="*/ 1057275 w 5274945"/>
              <a:gd name="connsiteY13" fmla="*/ 497205 h 5154930"/>
              <a:gd name="connsiteX14" fmla="*/ 2937510 w 5274945"/>
              <a:gd name="connsiteY14" fmla="*/ 2588895 h 5154930"/>
              <a:gd name="connsiteX15" fmla="*/ 2314575 w 5274945"/>
              <a:gd name="connsiteY15" fmla="*/ 2588895 h 5154930"/>
              <a:gd name="connsiteX16" fmla="*/ 0 w 5274945"/>
              <a:gd name="connsiteY16" fmla="*/ 0 h 5154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274945" h="5154930">
                <a:moveTo>
                  <a:pt x="0" y="0"/>
                </a:moveTo>
                <a:lnTo>
                  <a:pt x="1765935" y="0"/>
                </a:lnTo>
                <a:lnTo>
                  <a:pt x="4109085" y="2600325"/>
                </a:lnTo>
                <a:lnTo>
                  <a:pt x="2200275" y="4709160"/>
                </a:lnTo>
                <a:lnTo>
                  <a:pt x="2771775" y="4709160"/>
                </a:lnTo>
                <a:lnTo>
                  <a:pt x="4663440" y="2588895"/>
                </a:lnTo>
                <a:lnTo>
                  <a:pt x="2977515" y="731520"/>
                </a:lnTo>
                <a:lnTo>
                  <a:pt x="3606165" y="731520"/>
                </a:lnTo>
                <a:lnTo>
                  <a:pt x="5274945" y="2594610"/>
                </a:lnTo>
                <a:lnTo>
                  <a:pt x="2971800" y="5154930"/>
                </a:lnTo>
                <a:lnTo>
                  <a:pt x="1177290" y="5154930"/>
                </a:lnTo>
                <a:lnTo>
                  <a:pt x="3480435" y="2588895"/>
                </a:lnTo>
                <a:lnTo>
                  <a:pt x="1583055" y="497205"/>
                </a:lnTo>
                <a:lnTo>
                  <a:pt x="1057275" y="497205"/>
                </a:lnTo>
                <a:lnTo>
                  <a:pt x="2937510" y="2588895"/>
                </a:lnTo>
                <a:lnTo>
                  <a:pt x="2314575" y="258889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5970" tIns="47985" rIns="47985" bIns="47985" numCol="1" rtlCol="0" anchor="t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599" dirty="0" err="1">
              <a:solidFill>
                <a:srgbClr val="000000"/>
              </a:solidFill>
              <a:highlight>
                <a:srgbClr val="B2B2B2"/>
              </a:highlight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54B920-24BD-41FF-AC7B-8FCC959B25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6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54B920-24BD-41FF-AC7B-8FCC959B2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7C6A23-6A6C-401A-95D9-9107ED076B8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9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GB">
                <a:solidFill>
                  <a:srgbClr val="FFFFFF"/>
                </a:solidFill>
              </a:rPr>
              <a:t>Presentation title | Location | xx Month 20xx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11160384" y="6488335"/>
            <a:ext cx="483817" cy="2082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fld id="{8557CD76-CD08-4D96-8C1E-56B746A3F9F5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551999" y="2485342"/>
            <a:ext cx="5664000" cy="232679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4798" b="0" i="0" kern="1200" cap="all" baseline="0" dirty="0" smtClean="0">
                <a:solidFill>
                  <a:srgbClr val="D40511"/>
                </a:solidFill>
                <a:latin typeface="Delivery Cd Black" panose="020F0906020204020204" pitchFamily="34" charset="0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109B6C-5B73-5D4B-A35E-4E6CA144A4AB}"/>
              </a:ext>
            </a:extLst>
          </p:cNvPr>
          <p:cNvSpPr txBox="1"/>
          <p:nvPr userDrawn="1"/>
        </p:nvSpPr>
        <p:spPr>
          <a:xfrm>
            <a:off x="6776187" y="-250255"/>
            <a:ext cx="65" cy="2707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666"/>
              </a:spcAft>
            </a:pPr>
            <a:endParaRPr lang="en-US" sz="1599" dirty="0" err="1">
              <a:solidFill>
                <a:srgbClr val="000000"/>
              </a:solidFill>
            </a:endParaRP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793E5C9C-E448-3946-B65B-BFB80DCBB2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1" y="101653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0092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88B84C1-B965-470D-A97F-7C63518E6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8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88B84C1-B965-470D-A97F-7C63518E6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C822327-C4FB-4B8E-A218-AE296D626B6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6"/>
          </p:nvPr>
        </p:nvSpPr>
        <p:spPr bwMode="gray">
          <a:xfrm>
            <a:off x="552000" y="1458547"/>
            <a:ext cx="5400000" cy="4168154"/>
          </a:xfrm>
          <a:prstGeom prst="rect">
            <a:avLst/>
          </a:prstGeom>
        </p:spPr>
        <p:txBody>
          <a:bodyPr lIns="0" tIns="0" rIns="0" bIns="0"/>
          <a:lstStyle>
            <a:lvl1pPr marL="355475" marR="0" indent="-355475" algn="l" defTabSz="1218774" rtl="0" eaLnBrk="1" fontAlgn="auto" latinLnBrk="0" hangingPunct="1">
              <a:lnSpc>
                <a:spcPct val="100000"/>
              </a:lnSpc>
              <a:spcBef>
                <a:spcPts val="1866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599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475" marR="0" indent="0" algn="l" defTabSz="1218774" rtl="0" eaLnBrk="1" fontAlgn="auto" latinLnBrk="0" hangingPunct="1">
              <a:lnSpc>
                <a:spcPct val="100000"/>
              </a:lnSpc>
              <a:spcAft>
                <a:spcPts val="666"/>
              </a:spcAft>
              <a:buClrTx/>
              <a:buSzTx/>
              <a:buFontTx/>
              <a:buNone/>
              <a:tabLst/>
              <a:defRPr lang="en-US" sz="1599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21" name="Textplatzhalter 18"/>
          <p:cNvSpPr>
            <a:spLocks noGrp="1"/>
          </p:cNvSpPr>
          <p:nvPr>
            <p:ph type="body" sz="quarter" idx="26"/>
          </p:nvPr>
        </p:nvSpPr>
        <p:spPr bwMode="gray">
          <a:xfrm>
            <a:off x="6244200" y="1458547"/>
            <a:ext cx="5400000" cy="4168154"/>
          </a:xfrm>
          <a:prstGeom prst="rect">
            <a:avLst/>
          </a:prstGeom>
        </p:spPr>
        <p:txBody>
          <a:bodyPr lIns="0" tIns="0" rIns="0" bIns="0"/>
          <a:lstStyle>
            <a:lvl1pPr marL="355475" marR="0" indent="-355475" algn="l" defTabSz="1218774" rtl="0" eaLnBrk="1" fontAlgn="auto" latinLnBrk="0" hangingPunct="1">
              <a:lnSpc>
                <a:spcPct val="100000"/>
              </a:lnSpc>
              <a:spcBef>
                <a:spcPts val="1866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599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475" marR="0" indent="0" algn="l" defTabSz="1218774" rtl="0" eaLnBrk="1" fontAlgn="auto" latinLnBrk="0" hangingPunct="1">
              <a:lnSpc>
                <a:spcPct val="100000"/>
              </a:lnSpc>
              <a:spcAft>
                <a:spcPts val="666"/>
              </a:spcAft>
              <a:buClrTx/>
              <a:buSzTx/>
              <a:buFontTx/>
              <a:buNone/>
              <a:tabLst/>
              <a:defRPr lang="en-US" sz="1599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552001" y="254532"/>
            <a:ext cx="8526563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6" name="Rechteck 5">
            <a:extLst>
              <a:ext uri="{FF2B5EF4-FFF2-40B4-BE49-F238E27FC236}">
                <a16:creationId xmlns:a16="http://schemas.microsoft.com/office/drawing/2014/main" id="{85D99883-DB49-B94C-855F-11AE75ADD806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8654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CC54D76-52BE-4958-8E9F-49D56CCD05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0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CC54D76-52BE-4958-8E9F-49D56CCD0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E67424-2D29-4257-A62A-2C0781F9F78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/>
          </p:nvPr>
        </p:nvSpPr>
        <p:spPr bwMode="gray">
          <a:xfrm>
            <a:off x="551999" y="1458546"/>
            <a:ext cx="5400000" cy="2678400"/>
          </a:xfrm>
          <a:prstGeom prst="rect">
            <a:avLst/>
          </a:prstGeom>
        </p:spPr>
        <p:txBody>
          <a:bodyPr lIns="0" tIns="0" rIns="0" bIns="0"/>
          <a:lstStyle>
            <a:lvl1pPr marL="355475" marR="0" indent="-355475" algn="l" defTabSz="1218774" rtl="0" eaLnBrk="1" fontAlgn="auto" latinLnBrk="0" hangingPunct="1">
              <a:lnSpc>
                <a:spcPct val="100000"/>
              </a:lnSpc>
              <a:spcBef>
                <a:spcPts val="1866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599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355475" marR="0" indent="0" algn="l" defTabSz="1218774" rtl="0" eaLnBrk="1" fontAlgn="auto" latinLnBrk="0" hangingPunct="1">
              <a:lnSpc>
                <a:spcPct val="100000"/>
              </a:lnSpc>
              <a:spcAft>
                <a:spcPts val="666"/>
              </a:spcAft>
              <a:buClrTx/>
              <a:buSzTx/>
              <a:buFontTx/>
              <a:buNone/>
              <a:tabLst/>
              <a:defRPr lang="en-US" sz="1599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5475" marR="0" algn="l" defTabSz="1218774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866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endParaRPr lang="en-US" dirty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514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40200" y="4186701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6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736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360200" y="4186701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6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9580200" y="4546700"/>
            <a:ext cx="2064000" cy="1080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540000" rIns="0" bIns="0" anchor="ctr" anchorCtr="0"/>
          <a:lstStyle>
            <a:lvl1pPr algn="ctr">
              <a:defRPr sz="1333" b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80200" y="4186701"/>
            <a:ext cx="2064000" cy="36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1066" b="0"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>
          <a:xfrm>
            <a:off x="552000" y="254532"/>
            <a:ext cx="8502696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33" name="Textfeld 32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0" name="Rechteck 5">
            <a:extLst>
              <a:ext uri="{FF2B5EF4-FFF2-40B4-BE49-F238E27FC236}">
                <a16:creationId xmlns:a16="http://schemas.microsoft.com/office/drawing/2014/main" id="{D734060B-2F4F-964D-A93A-15D61CC85C67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207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5">
            <a:extLst>
              <a:ext uri="{FF2B5EF4-FFF2-40B4-BE49-F238E27FC236}">
                <a16:creationId xmlns:a16="http://schemas.microsoft.com/office/drawing/2014/main" id="{3A8B53D3-AE00-AB4C-A611-66E241EFAF24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D32F061-BA4C-448E-AFE3-012A2685D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3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D32F061-BA4C-448E-AFE3-012A2685D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7D09EE9-17AE-4635-AFE3-E0D639ABB92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552001" y="254532"/>
            <a:ext cx="958090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552452" y="1458547"/>
            <a:ext cx="11091333" cy="43834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 marL="0" indent="0"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7236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03D961C-85E5-4817-A147-B2D8A18D64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5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03D961C-85E5-4817-A147-B2D8A18D64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D7D1918-7069-4B4E-A603-83084F5BC9B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552001" y="254532"/>
            <a:ext cx="945898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781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3A8B53D3-AE00-AB4C-A611-66E241EFAF24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25299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54">
          <p15:clr>
            <a:srgbClr val="FBAE40"/>
          </p15:clr>
        </p15:guide>
        <p15:guide id="2" pos="249">
          <p15:clr>
            <a:srgbClr val="FBAE40"/>
          </p15:clr>
        </p15:guide>
        <p15:guide id="3" pos="551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074651-BF6A-4ED8-B928-F780E23F62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8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074651-BF6A-4ED8-B928-F780E23F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91F3376-AE03-45BE-BEA5-5C2ABCE342E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552001" y="254532"/>
            <a:ext cx="9580907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6242051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Rechteck 5">
            <a:extLst>
              <a:ext uri="{FF2B5EF4-FFF2-40B4-BE49-F238E27FC236}">
                <a16:creationId xmlns:a16="http://schemas.microsoft.com/office/drawing/2014/main" id="{BFB12557-D5F4-1E46-B0CF-260101BFBE07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7622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pictur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A0A2A26-BC8D-4642-82D5-CB7489ABE2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0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A0A2A26-BC8D-4642-82D5-CB7489ABE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DF84CFF-5E2D-4888-9AAB-7A51BB2E683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960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22124A0A-F575-40C4-BD79-2D1A0E93D6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ltGray">
          <a:xfrm>
            <a:off x="6242049" y="1458547"/>
            <a:ext cx="5400000" cy="439403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6D7758A1-F895-4BFD-ACEB-EE8374FBC4A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ltGray">
          <a:xfrm>
            <a:off x="552451" y="1458547"/>
            <a:ext cx="5400000" cy="4394039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anchor="ctr" anchorCtr="1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ußzeilenplatzhalter 33">
            <a:extLst>
              <a:ext uri="{FF2B5EF4-FFF2-40B4-BE49-F238E27FC236}">
                <a16:creationId xmlns:a16="http://schemas.microsoft.com/office/drawing/2014/main" id="{AA75FEA1-1BC7-4045-92F0-E1B9E12119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3" name="Textfeld 22">
            <a:extLst>
              <a:ext uri="{FF2B5EF4-FFF2-40B4-BE49-F238E27FC236}">
                <a16:creationId xmlns:a16="http://schemas.microsoft.com/office/drawing/2014/main" id="{6C1C95DF-AFF3-1146-AC81-EFBEAAF1815E}"/>
              </a:ext>
            </a:extLst>
          </p:cNvPr>
          <p:cNvSpPr txBox="1"/>
          <p:nvPr userDrawn="1"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4" name="Rechteck 5">
            <a:extLst>
              <a:ext uri="{FF2B5EF4-FFF2-40B4-BE49-F238E27FC236}">
                <a16:creationId xmlns:a16="http://schemas.microsoft.com/office/drawing/2014/main" id="{348310D2-3AEB-CA4E-B9D3-95B821099874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5247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C7D316E7-59A8-F640-BD69-264A352B4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1" y="101653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8774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light image full screen_B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81C20BE7-4A3E-B44A-BE89-F16F541BA8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25" y="301793"/>
            <a:ext cx="1373607" cy="590192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5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047458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: picture, gradient bottom_bl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C522890-830D-4B20-AD95-80C497994B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00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C522890-830D-4B20-AD95-80C497994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5D7B078-3BFD-489D-B37E-9582C9803C0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33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237067" y="4943051"/>
            <a:ext cx="11712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33"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552000" y="6124801"/>
            <a:ext cx="768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600" b="1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1" y="1"/>
            <a:ext cx="2409314" cy="247821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067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19B7D3A1-4011-4A4D-9D77-C81335BD3B43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9168000" y="6013977"/>
            <a:ext cx="2424000" cy="3552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 dirty="0"/>
              <a:t> ;</a:t>
            </a:r>
            <a:r>
              <a:rPr lang="en-US" dirty="0" err="1"/>
              <a:t>kjn;ojn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552000" y="2356501"/>
            <a:ext cx="11088000" cy="5801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7117" rtl="0" eaLnBrk="0" fontAlgn="base" latinLnBrk="0" hangingPunct="0">
              <a:lnSpc>
                <a:spcPct val="100000"/>
              </a:lnSpc>
              <a:spcAft>
                <a:spcPts val="0"/>
              </a:spcAft>
              <a:defRPr sz="2400">
                <a:latin typeface="+mn-lt"/>
                <a:sym typeface="Delivery" panose="020F0503020204020204" pitchFamily="34" charset="0"/>
              </a:defRPr>
            </a:lvl1pPr>
            <a:lvl2pPr marL="0" algn="l" defTabSz="1327117" rtl="0" eaLnBrk="0" fontAlgn="base" latinLnBrk="0" hangingPunct="0">
              <a:spcAft>
                <a:spcPts val="2133"/>
              </a:spcAft>
              <a:defRPr lang="en-US" sz="2667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327117" rtl="0" eaLnBrk="0" fontAlgn="base" latinLnBrk="0" hangingPunct="0"/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552000" y="3006586"/>
            <a:ext cx="11088000" cy="30074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8" name="Titel 13"/>
          <p:cNvSpPr>
            <a:spLocks noGrp="1"/>
          </p:cNvSpPr>
          <p:nvPr>
            <p:ph type="title"/>
          </p:nvPr>
        </p:nvSpPr>
        <p:spPr>
          <a:xfrm>
            <a:off x="552000" y="508802"/>
            <a:ext cx="11088000" cy="1847999"/>
          </a:xfrm>
        </p:spPr>
        <p:txBody>
          <a:bodyPr/>
          <a:lstStyle>
            <a:lvl1pPr>
              <a:lnSpc>
                <a:spcPct val="90000"/>
              </a:lnSpc>
              <a:defRPr sz="4800" cap="all" baseline="0"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/>
          </p:nvPr>
        </p:nvSpPr>
        <p:spPr>
          <a:xfrm>
            <a:off x="552000" y="3571731"/>
            <a:ext cx="11088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lnSpc>
                <a:spcPct val="100000"/>
              </a:lnSpc>
              <a:spcAft>
                <a:spcPts val="0"/>
              </a:spcAft>
              <a:defRPr lang="en-US" sz="16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>
              <a:spcAft>
                <a:spcPts val="2133"/>
              </a:spcAft>
              <a:defRPr sz="2667" b="0" baseline="0"/>
            </a:lvl2pPr>
          </a:lstStyle>
          <a:p>
            <a:endParaRPr lang="en-US" dirty="0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AD31F4B-C12B-4359-B156-D422DFD83C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77079" y="556923"/>
            <a:ext cx="2167467" cy="942983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7163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light image full screen_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7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1153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dark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0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A254E98-BA85-2B43-9A9F-BD9D132A092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96401" y="101653"/>
            <a:ext cx="2899835" cy="989701"/>
          </a:xfr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0" scaled="0"/>
          </a:grad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524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dark image full screen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2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1270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nt: dark image full scree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2F9D72-D289-4D0E-B978-954A060016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4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2F9D72-D289-4D0E-B978-954A060016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1477DC6-C016-4F38-9D98-20296AB5740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75000"/>
              <a:lumOff val="2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dark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F17007B-78E2-405D-B3ED-D372B8E3B0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2449" y="1458547"/>
            <a:ext cx="5400000" cy="438305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72F85091-6B2F-4A21-A8EA-9FD840B96BC7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C5EC62C3-8B17-8C4B-B121-0F2083AA55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9247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42D98AA-714B-4563-8BBF-05617BF23D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7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42D98AA-714B-4563-8BBF-05617BF23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B9BC3D-7687-4754-8C48-0129DCDB8B5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3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 bwMode="hidden">
          <a:xfrm>
            <a:off x="552000" y="5231789"/>
            <a:ext cx="7008000" cy="111029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3199" cap="none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0" name="Fußzeilenplatzhalter 33">
            <a:extLst>
              <a:ext uri="{FF2B5EF4-FFF2-40B4-BE49-F238E27FC236}">
                <a16:creationId xmlns:a16="http://schemas.microsoft.com/office/drawing/2014/main" id="{F31937AF-5FB6-8C42-9CA1-014B87D358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1" name="Textfeld 22">
            <a:extLst>
              <a:ext uri="{FF2B5EF4-FFF2-40B4-BE49-F238E27FC236}">
                <a16:creationId xmlns:a16="http://schemas.microsoft.com/office/drawing/2014/main" id="{DBF2570E-4CB6-6A45-8364-CC294C6B1B63}"/>
              </a:ext>
            </a:extLst>
          </p:cNvPr>
          <p:cNvSpPr txBox="1"/>
          <p:nvPr userDrawn="1"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7" name="Rechteck 5">
            <a:extLst>
              <a:ext uri="{FF2B5EF4-FFF2-40B4-BE49-F238E27FC236}">
                <a16:creationId xmlns:a16="http://schemas.microsoft.com/office/drawing/2014/main" id="{170F4D5D-60EE-A344-A164-FE56350E90AD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1936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r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99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3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199" cap="none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5639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er white big chevr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2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3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332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6" name="Fußzeilenplatzhalter 33">
            <a:extLst>
              <a:ext uri="{FF2B5EF4-FFF2-40B4-BE49-F238E27FC236}">
                <a16:creationId xmlns:a16="http://schemas.microsoft.com/office/drawing/2014/main" id="{909969C5-E1A0-4533-813E-4D6AAAD0FE1B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E9DAAFB-E571-43FE-BB08-66B4FE4B6D7D}"/>
              </a:ext>
            </a:extLst>
          </p:cNvPr>
          <p:cNvSpPr txBox="1"/>
          <p:nvPr userDrawn="1"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1" name="meta-classification">
            <a:extLst>
              <a:ext uri="{FF2B5EF4-FFF2-40B4-BE49-F238E27FC236}">
                <a16:creationId xmlns:a16="http://schemas.microsoft.com/office/drawing/2014/main" id="{761ACE6D-5A53-4AEA-B1C8-994671C1DF42}"/>
              </a:ext>
            </a:extLst>
          </p:cNvPr>
          <p:cNvSpPr>
            <a:spLocks noGrp="1"/>
          </p:cNvSpPr>
          <p:nvPr userDrawn="1">
            <p:ph type="body" sz="quarter" idx="2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8" name="Rechteck 5">
            <a:extLst>
              <a:ext uri="{FF2B5EF4-FFF2-40B4-BE49-F238E27FC236}">
                <a16:creationId xmlns:a16="http://schemas.microsoft.com/office/drawing/2014/main" id="{C275A383-3E1C-A142-A30E-ADE1835996A5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6285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break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B41A3D-3C19-4F60-8492-772433D226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4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B41A3D-3C19-4F60-8492-772433D22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407A8F-9BE6-4627-A777-A633A2596F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332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2096667"/>
            <a:ext cx="12192000" cy="1062667"/>
          </a:xfrm>
          <a:prstGeom prst="rect">
            <a:avLst/>
          </a:prstGeom>
        </p:spPr>
        <p:txBody>
          <a:bodyPr lIns="0" rIns="0" anchor="ctr"/>
          <a:lstStyle>
            <a:lvl1pPr algn="ctr">
              <a:lnSpc>
                <a:spcPct val="100000"/>
              </a:lnSpc>
              <a:defRPr sz="3332" cap="none" baseline="0">
                <a:solidFill>
                  <a:srgbClr val="D4051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0" name="Rechteck 5">
            <a:extLst>
              <a:ext uri="{FF2B5EF4-FFF2-40B4-BE49-F238E27FC236}">
                <a16:creationId xmlns:a16="http://schemas.microsoft.com/office/drawing/2014/main" id="{1D70156B-B93C-5B44-8557-FE71F0111FA3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4759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FE7DC0F-358C-473E-8A5C-44BF688CC2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FE7DC0F-358C-473E-8A5C-44BF688CC2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1A87659-B712-4DDD-B687-9D586E964DC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552000" y="1458547"/>
            <a:ext cx="11088000" cy="399764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774" rtl="0" eaLnBrk="1" fontAlgn="auto" latinLnBrk="0" hangingPunct="1">
              <a:lnSpc>
                <a:spcPct val="110000"/>
              </a:lnSpc>
              <a:spcBef>
                <a:spcPts val="1866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99" b="1" baseline="0">
                <a:latin typeface="+mn-lt"/>
                <a:sym typeface="Delivery" panose="020F0503020204020204" pitchFamily="34" charset="0"/>
              </a:defRPr>
            </a:lvl1pPr>
            <a:lvl2pPr>
              <a:spcAft>
                <a:spcPts val="0"/>
              </a:spcAft>
              <a:buFontTx/>
              <a:buNone/>
              <a:defRPr sz="1599" b="0" baseline="0">
                <a:latin typeface="+mn-lt"/>
                <a:sym typeface="Delivery" panose="020F0503020204020204" pitchFamily="34" charset="0"/>
              </a:defRPr>
            </a:lvl2pPr>
            <a:lvl3pPr>
              <a:spcAft>
                <a:spcPts val="0"/>
              </a:spcAft>
              <a:buClr>
                <a:schemeClr val="tx1"/>
              </a:buClr>
              <a:defRPr sz="1599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599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599" baseline="0"/>
            </a:lvl5pPr>
          </a:lstStyle>
          <a:p>
            <a:pPr lvl="0"/>
            <a:endParaRPr lang="en-US"/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>
          <a:xfrm>
            <a:off x="552000" y="254532"/>
            <a:ext cx="9618160" cy="820737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132668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333">
                <a:solidFill>
                  <a:schemeClr val="tx1"/>
                </a:solidFill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Presentation title | Location | xx Month 20xx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 bwMode="gray">
          <a:xfrm>
            <a:off x="11158684" y="6488398"/>
            <a:ext cx="485517" cy="2051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333">
                <a:solidFill>
                  <a:srgbClr val="000000"/>
                </a:solidFill>
                <a:sym typeface="Delivery" panose="020F0503020204020204" pitchFamily="34" charset="0"/>
              </a:rPr>
              <a:pPr algn="r"/>
              <a:t>‹#›</a:t>
            </a:fld>
            <a:endParaRPr lang="en-US" sz="1333" dirty="0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11" name="Rechteck 5">
            <a:extLst>
              <a:ext uri="{FF2B5EF4-FFF2-40B4-BE49-F238E27FC236}">
                <a16:creationId xmlns:a16="http://schemas.microsoft.com/office/drawing/2014/main" id="{DDF1C2CF-74CD-0042-BDE3-5403198B24CF}"/>
              </a:ext>
            </a:extLst>
          </p:cNvPr>
          <p:cNvSpPr/>
          <p:nvPr userDrawn="1"/>
        </p:nvSpPr>
        <p:spPr bwMode="hidden">
          <a:xfrm rot="16200000">
            <a:off x="10268455" y="-835065"/>
            <a:ext cx="977517" cy="286958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9639448F-7281-5848-834A-02539FD2A7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274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lIns="0" tIns="540000" rIns="0" bIns="0" anchor="ctr" anchorCtr="0"/>
          <a:lstStyle>
            <a:lvl1pPr algn="ctr">
              <a:defRPr baseline="0">
                <a:latin typeface="+mn-lt"/>
                <a:sym typeface="Delivery" panose="020F0503020204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D975E8-4A2D-4793-B144-5026BEC0F6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9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D975E8-4A2D-4793-B144-5026BEC0F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2BDB349-120F-4EC1-A8BB-8440DCD2BAC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5598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/>
          </p:nvPr>
        </p:nvSpPr>
        <p:spPr bwMode="hidden">
          <a:xfrm>
            <a:off x="240000" y="5759051"/>
            <a:ext cx="11712000" cy="864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33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marL="0" lvl="0" indent="0" algn="l" defTabSz="121877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866"/>
              </a:spcAft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52000" y="4521601"/>
            <a:ext cx="11088000" cy="72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7331"/>
              </a:lnSpc>
              <a:defRPr sz="4798" cap="all" baseline="0">
                <a:solidFill>
                  <a:srgbClr val="D40511"/>
                </a:solidFill>
                <a:latin typeface="Delivery Cd Black" panose="020F0906020204020204" pitchFamily="34" charset="0"/>
                <a:sym typeface="Delivery" panose="020F0503020204020204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52002" y="2"/>
            <a:ext cx="2409314" cy="24762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218774" rtl="0" eaLnBrk="1" latinLnBrk="0" hangingPunct="1">
              <a:lnSpc>
                <a:spcPct val="100000"/>
              </a:lnSpc>
              <a:spcAft>
                <a:spcPts val="0"/>
              </a:spcAft>
              <a:defRPr lang="en-US" sz="1066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DC4E1AF-85B9-E248-971A-F4125C6E5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12178" y="301793"/>
            <a:ext cx="1373607" cy="590192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 sz="133"/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US" dirty="0"/>
              <a:t>x</a:t>
            </a:r>
            <a:endParaRPr lang="en-GB" dirty="0"/>
          </a:p>
        </p:txBody>
      </p:sp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11124C64-7922-4086-8AA5-55909DCC982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552000" y="6162480"/>
            <a:ext cx="1699200" cy="2496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33">
                <a:latin typeface="+mn-lt"/>
              </a:defRPr>
            </a:lvl1pPr>
          </a:lstStyle>
          <a:p>
            <a:pPr lvl="0"/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4774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image" Target="../media/image7.emf"/><Relationship Id="rId21" Type="http://schemas.openxmlformats.org/officeDocument/2006/relationships/slideLayout" Target="../slideLayouts/slideLayout28.xml"/><Relationship Id="rId34" Type="http://schemas.openxmlformats.org/officeDocument/2006/relationships/vmlDrawing" Target="../drawings/vmlDrawing5.v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theme" Target="../theme/theme2.xml"/><Relationship Id="rId38" Type="http://schemas.openxmlformats.org/officeDocument/2006/relationships/oleObject" Target="../embeddings/oleObject5.bin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image" Target="../media/image8.jpg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tags" Target="../tags/tag12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tags" Target="../tags/tag11.xml"/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image" Target="../media/image7.emf"/><Relationship Id="rId21" Type="http://schemas.openxmlformats.org/officeDocument/2006/relationships/slideLayout" Target="../slideLayouts/slideLayout60.xml"/><Relationship Id="rId34" Type="http://schemas.openxmlformats.org/officeDocument/2006/relationships/vmlDrawing" Target="../drawings/vmlDrawing38.v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theme" Target="../theme/theme3.xml"/><Relationship Id="rId38" Type="http://schemas.openxmlformats.org/officeDocument/2006/relationships/oleObject" Target="../embeddings/oleObject38.bin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image" Target="../media/image18.jpg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tags" Target="../tags/tag78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tags" Target="../tags/tag77.xml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9" Type="http://schemas.openxmlformats.org/officeDocument/2006/relationships/oleObject" Target="../embeddings/oleObject71.bin"/><Relationship Id="rId21" Type="http://schemas.openxmlformats.org/officeDocument/2006/relationships/slideLayout" Target="../slideLayouts/slideLayout92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image" Target="../media/image19.jpg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29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tags" Target="../tags/tag144.xml"/><Relationship Id="rId40" Type="http://schemas.openxmlformats.org/officeDocument/2006/relationships/image" Target="../media/image7.emf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tags" Target="../tags/tag143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vmlDrawing" Target="../drawings/vmlDrawing71.vml"/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34" Type="http://schemas.openxmlformats.org/officeDocument/2006/relationships/oleObject" Target="../embeddings/oleObject102.bin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9.xml"/><Relationship Id="rId33" Type="http://schemas.openxmlformats.org/officeDocument/2006/relationships/tags" Target="../tags/tag206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32" Type="http://schemas.openxmlformats.org/officeDocument/2006/relationships/tags" Target="../tags/tag205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vmlDrawing" Target="../drawings/vmlDrawing102.v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slideLayout" Target="../slideLayouts/slideLayout131.xml"/><Relationship Id="rId30" Type="http://schemas.openxmlformats.org/officeDocument/2006/relationships/theme" Target="../theme/theme5.xml"/><Relationship Id="rId35" Type="http://schemas.openxmlformats.org/officeDocument/2006/relationships/image" Target="../media/image7.emf"/><Relationship Id="rId8" Type="http://schemas.openxmlformats.org/officeDocument/2006/relationships/slideLayout" Target="../slideLayouts/slideLayout11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26" Type="http://schemas.openxmlformats.org/officeDocument/2006/relationships/slideLayout" Target="../slideLayouts/slideLayout159.xml"/><Relationship Id="rId39" Type="http://schemas.openxmlformats.org/officeDocument/2006/relationships/oleObject" Target="../embeddings/oleObject132.bin"/><Relationship Id="rId21" Type="http://schemas.openxmlformats.org/officeDocument/2006/relationships/slideLayout" Target="../slideLayouts/slideLayout154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5" Type="http://schemas.openxmlformats.org/officeDocument/2006/relationships/slideLayout" Target="../slideLayouts/slideLayout158.xml"/><Relationship Id="rId33" Type="http://schemas.openxmlformats.org/officeDocument/2006/relationships/slideLayout" Target="../slideLayouts/slideLayout166.xml"/><Relationship Id="rId38" Type="http://schemas.openxmlformats.org/officeDocument/2006/relationships/image" Target="../media/image19.jpg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53.xml"/><Relationship Id="rId29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slideLayout" Target="../slideLayouts/slideLayout157.xml"/><Relationship Id="rId32" Type="http://schemas.openxmlformats.org/officeDocument/2006/relationships/slideLayout" Target="../slideLayouts/slideLayout165.xml"/><Relationship Id="rId37" Type="http://schemas.openxmlformats.org/officeDocument/2006/relationships/tags" Target="../tags/tag266.xml"/><Relationship Id="rId40" Type="http://schemas.openxmlformats.org/officeDocument/2006/relationships/image" Target="../media/image7.emf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slideLayout" Target="../slideLayouts/slideLayout156.xml"/><Relationship Id="rId28" Type="http://schemas.openxmlformats.org/officeDocument/2006/relationships/slideLayout" Target="../slideLayouts/slideLayout161.xml"/><Relationship Id="rId36" Type="http://schemas.openxmlformats.org/officeDocument/2006/relationships/tags" Target="../tags/tag265.xml"/><Relationship Id="rId10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52.xml"/><Relationship Id="rId31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slideLayout" Target="../slideLayouts/slideLayout155.xml"/><Relationship Id="rId27" Type="http://schemas.openxmlformats.org/officeDocument/2006/relationships/slideLayout" Target="../slideLayouts/slideLayout160.xml"/><Relationship Id="rId30" Type="http://schemas.openxmlformats.org/officeDocument/2006/relationships/slideLayout" Target="../slideLayouts/slideLayout163.xml"/><Relationship Id="rId35" Type="http://schemas.openxmlformats.org/officeDocument/2006/relationships/vmlDrawing" Target="../drawings/vmlDrawing132.vml"/><Relationship Id="rId8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3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26" Type="http://schemas.openxmlformats.org/officeDocument/2006/relationships/vmlDrawing" Target="../drawings/vmlDrawing163.vml"/><Relationship Id="rId3" Type="http://schemas.openxmlformats.org/officeDocument/2006/relationships/slideLayout" Target="../slideLayouts/slideLayout169.xml"/><Relationship Id="rId21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5" Type="http://schemas.openxmlformats.org/officeDocument/2006/relationships/theme" Target="../theme/theme7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slideLayout" Target="../slideLayouts/slideLayout186.xml"/><Relationship Id="rId29" Type="http://schemas.openxmlformats.org/officeDocument/2006/relationships/oleObject" Target="../embeddings/oleObject163.bin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24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23" Type="http://schemas.openxmlformats.org/officeDocument/2006/relationships/slideLayout" Target="../slideLayouts/slideLayout189.xml"/><Relationship Id="rId28" Type="http://schemas.openxmlformats.org/officeDocument/2006/relationships/tags" Target="../tags/tag328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Relationship Id="rId22" Type="http://schemas.openxmlformats.org/officeDocument/2006/relationships/slideLayout" Target="../slideLayouts/slideLayout188.xml"/><Relationship Id="rId27" Type="http://schemas.openxmlformats.org/officeDocument/2006/relationships/tags" Target="../tags/tag327.xml"/><Relationship Id="rId30" Type="http://schemas.openxmlformats.org/officeDocument/2006/relationships/image" Target="../media/image35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slideLayout" Target="../slideLayouts/slideLayout203.xml"/><Relationship Id="rId18" Type="http://schemas.openxmlformats.org/officeDocument/2006/relationships/slideLayout" Target="../slideLayouts/slideLayout208.xml"/><Relationship Id="rId26" Type="http://schemas.openxmlformats.org/officeDocument/2006/relationships/vmlDrawing" Target="../drawings/vmlDrawing170.vml"/><Relationship Id="rId3" Type="http://schemas.openxmlformats.org/officeDocument/2006/relationships/slideLayout" Target="../slideLayouts/slideLayout193.xml"/><Relationship Id="rId21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17" Type="http://schemas.openxmlformats.org/officeDocument/2006/relationships/slideLayout" Target="../slideLayouts/slideLayout207.xml"/><Relationship Id="rId25" Type="http://schemas.openxmlformats.org/officeDocument/2006/relationships/theme" Target="../theme/theme8.xml"/><Relationship Id="rId2" Type="http://schemas.openxmlformats.org/officeDocument/2006/relationships/slideLayout" Target="../slideLayouts/slideLayout192.xml"/><Relationship Id="rId16" Type="http://schemas.openxmlformats.org/officeDocument/2006/relationships/slideLayout" Target="../slideLayouts/slideLayout206.xml"/><Relationship Id="rId20" Type="http://schemas.openxmlformats.org/officeDocument/2006/relationships/slideLayout" Target="../slideLayouts/slideLayout210.xml"/><Relationship Id="rId29" Type="http://schemas.openxmlformats.org/officeDocument/2006/relationships/oleObject" Target="../embeddings/oleObject170.bin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24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195.xml"/><Relationship Id="rId15" Type="http://schemas.openxmlformats.org/officeDocument/2006/relationships/slideLayout" Target="../slideLayouts/slideLayout205.xml"/><Relationship Id="rId23" Type="http://schemas.openxmlformats.org/officeDocument/2006/relationships/slideLayout" Target="../slideLayouts/slideLayout213.xml"/><Relationship Id="rId28" Type="http://schemas.openxmlformats.org/officeDocument/2006/relationships/tags" Target="../tags/tag341.xml"/><Relationship Id="rId10" Type="http://schemas.openxmlformats.org/officeDocument/2006/relationships/slideLayout" Target="../slideLayouts/slideLayout200.xml"/><Relationship Id="rId19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212.xml"/><Relationship Id="rId27" Type="http://schemas.openxmlformats.org/officeDocument/2006/relationships/tags" Target="../tags/tag340.xml"/><Relationship Id="rId30" Type="http://schemas.openxmlformats.org/officeDocument/2006/relationships/image" Target="../media/image3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2253711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defTabSz="914377" eaLnBrk="1"/>
            <a:endParaRPr lang="en-US" sz="2400" b="1" i="0" baseline="0" dirty="0" err="1">
              <a:solidFill>
                <a:prstClr val="black"/>
              </a:solidFill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999" y="6405310"/>
            <a:ext cx="10823376" cy="184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pPr defTabSz="914377"/>
            <a:r>
              <a:rPr lang="en-US" smtClean="0">
                <a:solidFill>
                  <a:prstClr val="black"/>
                </a:solidFill>
              </a:rPr>
              <a:t>Logistics Trend Radar 5th Edition Overview | DHL Trend Research | August 2020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5376" y="6405310"/>
            <a:ext cx="504625" cy="1846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914377"/>
            <a:fld id="{C2245BC1-4D7B-4ED3-8F01-840FA35126C6}" type="slidenum">
              <a:rPr lang="en-US" smtClean="0">
                <a:solidFill>
                  <a:prstClr val="black"/>
                </a:solidFill>
              </a:rPr>
              <a:pPr defTabSz="914377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1" y="1534584"/>
            <a:ext cx="11327999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sz="1600" dirty="0"/>
              <a:t>Paragraph Headline, Delivery Bold, 12 </a:t>
            </a:r>
            <a:r>
              <a:rPr lang="en-US" sz="1600" dirty="0" err="1"/>
              <a:t>pt</a:t>
            </a:r>
            <a:endParaRPr lang="en-US" sz="1600" dirty="0"/>
          </a:p>
          <a:p>
            <a:pPr lvl="6"/>
            <a:r>
              <a:rPr lang="en-US" sz="1600" dirty="0"/>
              <a:t>Bullet number, Delivery, 12 </a:t>
            </a:r>
            <a:r>
              <a:rPr lang="en-US" sz="1600" dirty="0" err="1"/>
              <a:t>pt</a:t>
            </a:r>
          </a:p>
          <a:p>
            <a:pPr lvl="6"/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513551"/>
            <a:ext cx="11327999" cy="658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80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6" r:id="rId5"/>
    <p:sldLayoutId id="2147483667" r:id="rId6"/>
    <p:sldLayoutId id="2147484043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982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+mj-lt"/>
        <a:buAutoNum type="arabicPeriod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333" kern="10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04">
          <p15:clr>
            <a:srgbClr val="F26B43"/>
          </p15:clr>
        </p15:guide>
        <p15:guide id="2" pos="5556">
          <p15:clr>
            <a:srgbClr val="F26B43"/>
          </p15:clr>
        </p15:guide>
        <p15:guide id="3" orient="horz" pos="725">
          <p15:clr>
            <a:srgbClr val="F26B43"/>
          </p15:clr>
        </p15:guide>
        <p15:guide id="4" orient="horz" pos="2949">
          <p15:clr>
            <a:srgbClr val="F26B43"/>
          </p15:clr>
        </p15:guide>
        <p15:guide id="5" orient="horz" pos="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484360153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955" name="think-cell Slide" r:id="rId38" imgW="360" imgH="360" progId="TCLayout.ActiveDocument.1">
                  <p:embed/>
                </p:oleObj>
              </mc:Choice>
              <mc:Fallback>
                <p:oleObj name="think-cell Slide" r:id="rId38" imgW="360" imgH="360" progId="TCLayout.ActiveDocument.1">
                  <p:embed/>
                  <p:pic>
                    <p:nvPicPr>
                      <p:cNvPr id="33" name="Objekt 3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A681B7-2FDA-4F48-9800-CF23F428CB0F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552000" y="1458545"/>
            <a:ext cx="11088000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12192000" cy="68592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333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algn="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Presentation title | Location | xx Month 20xx</a:t>
            </a:r>
            <a:endParaRPr lang="en-US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1020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  <p:sldLayoutId id="2147483805" r:id="rId19"/>
    <p:sldLayoutId id="2147483806" r:id="rId20"/>
    <p:sldLayoutId id="2147483807" r:id="rId21"/>
    <p:sldLayoutId id="2147483808" r:id="rId22"/>
    <p:sldLayoutId id="2147483809" r:id="rId23"/>
    <p:sldLayoutId id="2147483810" r:id="rId24"/>
    <p:sldLayoutId id="2147483811" r:id="rId25"/>
    <p:sldLayoutId id="2147483812" r:id="rId26"/>
    <p:sldLayoutId id="2147483813" r:id="rId27"/>
    <p:sldLayoutId id="2147483814" r:id="rId28"/>
    <p:sldLayoutId id="2147483815" r:id="rId29"/>
    <p:sldLayoutId id="2147483816" r:id="rId30"/>
    <p:sldLayoutId id="2147483817" r:id="rId31"/>
    <p:sldLayoutId id="2147483818" r:id="rId3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1" kern="1200" cap="none" baseline="0">
          <a:solidFill>
            <a:srgbClr val="D40511"/>
          </a:solidFill>
          <a:latin typeface="+mj-lt"/>
          <a:ea typeface="+mj-ea"/>
          <a:cs typeface="+mj-cs"/>
          <a:sym typeface="Delivery" panose="020F0503020204020204" pitchFamily="34" charset="0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itchFamily="34" charset="0"/>
        <a:buNone/>
        <a:defRPr sz="1600" b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1pPr>
      <a:lvl2pPr marL="239994" marR="0" indent="-239994" algn="l" defTabSz="1219170" rtl="0" eaLnBrk="1" fontAlgn="auto" latinLnBrk="0" hangingPunct="1">
        <a:lnSpc>
          <a:spcPct val="110000"/>
        </a:lnSpc>
        <a:spcBef>
          <a:spcPts val="0"/>
        </a:spcBef>
        <a:spcAft>
          <a:spcPts val="667"/>
        </a:spcAft>
        <a:buClrTx/>
        <a:buSzTx/>
        <a:buFont typeface="Arial" pitchFamily="34" charset="0"/>
        <a:buChar char="•"/>
        <a:tabLst/>
        <a:defRPr sz="1600" b="0" i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2pPr>
      <a:lvl3pPr marL="479988" indent="-239994" algn="l" defTabSz="1219170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Tx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3pPr>
      <a:lvl4pPr marL="719982" indent="-239994" algn="l" defTabSz="1219170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Tx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4pPr>
      <a:lvl5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1867"/>
        </a:spcAft>
        <a:buFontTx/>
        <a:buNone/>
        <a:defRPr sz="2133" b="1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7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341984564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237" name="think-cell Slide" r:id="rId38" imgW="360" imgH="360" progId="TCLayout.ActiveDocument.1">
                  <p:embed/>
                </p:oleObj>
              </mc:Choice>
              <mc:Fallback>
                <p:oleObj name="think-cell Slide" r:id="rId38" imgW="360" imgH="360" progId="TCLayout.ActiveDocument.1">
                  <p:embed/>
                  <p:pic>
                    <p:nvPicPr>
                      <p:cNvPr id="33" name="Objekt 3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A681B7-2FDA-4F48-9800-CF23F428CB0F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552000" y="1458545"/>
            <a:ext cx="11088000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12192000" cy="68592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333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algn="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Presentation title | Location | xx Month 20xx</a:t>
            </a:r>
            <a:endParaRPr lang="en-US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2866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3" r:id="rId18"/>
    <p:sldLayoutId id="2147484064" r:id="rId19"/>
    <p:sldLayoutId id="2147484065" r:id="rId20"/>
    <p:sldLayoutId id="2147484066" r:id="rId21"/>
    <p:sldLayoutId id="2147484067" r:id="rId22"/>
    <p:sldLayoutId id="2147484068" r:id="rId23"/>
    <p:sldLayoutId id="2147484069" r:id="rId24"/>
    <p:sldLayoutId id="2147484070" r:id="rId25"/>
    <p:sldLayoutId id="2147484071" r:id="rId26"/>
    <p:sldLayoutId id="2147484072" r:id="rId27"/>
    <p:sldLayoutId id="2147484073" r:id="rId28"/>
    <p:sldLayoutId id="2147484074" r:id="rId29"/>
    <p:sldLayoutId id="2147484075" r:id="rId30"/>
    <p:sldLayoutId id="2147484076" r:id="rId31"/>
    <p:sldLayoutId id="2147484077" r:id="rId3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1" kern="1200" cap="none" baseline="0">
          <a:solidFill>
            <a:srgbClr val="D40511"/>
          </a:solidFill>
          <a:latin typeface="+mj-lt"/>
          <a:ea typeface="+mj-ea"/>
          <a:cs typeface="+mj-cs"/>
          <a:sym typeface="Delivery" panose="020F0503020204020204" pitchFamily="34" charset="0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itchFamily="34" charset="0"/>
        <a:buNone/>
        <a:defRPr sz="1600" b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1pPr>
      <a:lvl2pPr marL="239994" marR="0" indent="-239994" algn="l" defTabSz="1219170" rtl="0" eaLnBrk="1" fontAlgn="auto" latinLnBrk="0" hangingPunct="1">
        <a:lnSpc>
          <a:spcPct val="110000"/>
        </a:lnSpc>
        <a:spcBef>
          <a:spcPts val="0"/>
        </a:spcBef>
        <a:spcAft>
          <a:spcPts val="667"/>
        </a:spcAft>
        <a:buClrTx/>
        <a:buSzTx/>
        <a:buFont typeface="Arial" pitchFamily="34" charset="0"/>
        <a:buChar char="•"/>
        <a:tabLst/>
        <a:defRPr sz="1600" b="0" i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2pPr>
      <a:lvl3pPr marL="479988" indent="-239994" algn="l" defTabSz="1219170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Tx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3pPr>
      <a:lvl4pPr marL="719982" indent="-239994" algn="l" defTabSz="1219170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Tx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4pPr>
      <a:lvl5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1867"/>
        </a:spcAft>
        <a:buFontTx/>
        <a:buNone/>
        <a:defRPr sz="2133" b="1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8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489440656"/>
              </p:ext>
            </p:extLst>
          </p:nvPr>
        </p:nvGraphicFramePr>
        <p:xfrm>
          <a:off x="2118" y="2119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21" name="think-cell Slide" r:id="rId39" imgW="360" imgH="360" progId="TCLayout.ActiveDocument.1">
                  <p:embed/>
                </p:oleObj>
              </mc:Choice>
              <mc:Fallback>
                <p:oleObj name="think-cell Slide" r:id="rId39" imgW="360" imgH="360" progId="TCLayout.ActiveDocument.1">
                  <p:embed/>
                  <p:pic>
                    <p:nvPicPr>
                      <p:cNvPr id="33" name="Objekt 3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9"/>
                        <a:ext cx="2116" cy="21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A681B7-2FDA-4F48-9800-CF23F428CB0F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b="1" i="0" baseline="0" dirty="0" err="1">
              <a:solidFill>
                <a:srgbClr val="000000"/>
              </a:solidFill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552000" y="1458545"/>
            <a:ext cx="11088000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12192000" cy="68592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333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algn="r" defTabSz="132668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000000"/>
                </a:solidFill>
              </a:rPr>
              <a:t>Presentation title | Location | xx Month 20xx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905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  <p:sldLayoutId id="2147483929" r:id="rId12"/>
    <p:sldLayoutId id="2147483930" r:id="rId13"/>
    <p:sldLayoutId id="2147483931" r:id="rId14"/>
    <p:sldLayoutId id="2147483932" r:id="rId15"/>
    <p:sldLayoutId id="2147483933" r:id="rId16"/>
    <p:sldLayoutId id="2147483934" r:id="rId17"/>
    <p:sldLayoutId id="2147483935" r:id="rId18"/>
    <p:sldLayoutId id="2147483936" r:id="rId19"/>
    <p:sldLayoutId id="2147483937" r:id="rId20"/>
    <p:sldLayoutId id="2147483938" r:id="rId21"/>
    <p:sldLayoutId id="2147483939" r:id="rId22"/>
    <p:sldLayoutId id="2147483940" r:id="rId23"/>
    <p:sldLayoutId id="2147483941" r:id="rId24"/>
    <p:sldLayoutId id="2147483942" r:id="rId25"/>
    <p:sldLayoutId id="2147483943" r:id="rId26"/>
    <p:sldLayoutId id="2147483944" r:id="rId27"/>
    <p:sldLayoutId id="2147483945" r:id="rId28"/>
    <p:sldLayoutId id="2147483946" r:id="rId29"/>
    <p:sldLayoutId id="2147483947" r:id="rId30"/>
    <p:sldLayoutId id="2147483948" r:id="rId31"/>
    <p:sldLayoutId id="2147483949" r:id="rId32"/>
    <p:sldLayoutId id="2147483950" r:id="rId3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1218774" rtl="0" eaLnBrk="1" latinLnBrk="0" hangingPunct="1">
        <a:lnSpc>
          <a:spcPct val="100000"/>
        </a:lnSpc>
        <a:spcBef>
          <a:spcPct val="0"/>
        </a:spcBef>
        <a:buNone/>
        <a:defRPr sz="2399" b="1" kern="1200" cap="none" baseline="0">
          <a:solidFill>
            <a:srgbClr val="D40511"/>
          </a:solidFill>
          <a:latin typeface="+mj-lt"/>
          <a:ea typeface="+mj-ea"/>
          <a:cs typeface="+mj-cs"/>
          <a:sym typeface="Delivery" panose="020F0503020204020204" pitchFamily="34" charset="0"/>
        </a:defRPr>
      </a:lvl1pPr>
    </p:titleStyle>
    <p:bodyStyle>
      <a:lvl1pPr marL="0" indent="0" algn="l" defTabSz="1218774" rtl="0" eaLnBrk="1" latinLnBrk="0" hangingPunct="1">
        <a:lnSpc>
          <a:spcPct val="110000"/>
        </a:lnSpc>
        <a:spcBef>
          <a:spcPts val="0"/>
        </a:spcBef>
        <a:spcAft>
          <a:spcPts val="666"/>
        </a:spcAft>
        <a:buFont typeface="Arial" pitchFamily="34" charset="0"/>
        <a:buNone/>
        <a:defRPr sz="1599" b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1pPr>
      <a:lvl2pPr marL="239917" marR="0" indent="-239917" algn="l" defTabSz="1218774" rtl="0" eaLnBrk="1" fontAlgn="auto" latinLnBrk="0" hangingPunct="1">
        <a:lnSpc>
          <a:spcPct val="110000"/>
        </a:lnSpc>
        <a:spcBef>
          <a:spcPts val="0"/>
        </a:spcBef>
        <a:spcAft>
          <a:spcPts val="666"/>
        </a:spcAft>
        <a:buClrTx/>
        <a:buSzTx/>
        <a:buFont typeface="Arial" pitchFamily="34" charset="0"/>
        <a:buChar char="•"/>
        <a:tabLst/>
        <a:defRPr sz="1599" b="0" i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2pPr>
      <a:lvl3pPr marL="479832" indent="-239917" algn="l" defTabSz="1218774" rtl="0" eaLnBrk="1" latinLnBrk="0" hangingPunct="1">
        <a:lnSpc>
          <a:spcPct val="110000"/>
        </a:lnSpc>
        <a:spcBef>
          <a:spcPts val="0"/>
        </a:spcBef>
        <a:spcAft>
          <a:spcPts val="666"/>
        </a:spcAft>
        <a:buClrTx/>
        <a:buFont typeface="Arial" pitchFamily="34" charset="0"/>
        <a:buChar char="–"/>
        <a:defRPr sz="1599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3pPr>
      <a:lvl4pPr marL="719749" indent="-239917" algn="l" defTabSz="1218774" rtl="0" eaLnBrk="1" latinLnBrk="0" hangingPunct="1">
        <a:lnSpc>
          <a:spcPct val="110000"/>
        </a:lnSpc>
        <a:spcBef>
          <a:spcPts val="0"/>
        </a:spcBef>
        <a:spcAft>
          <a:spcPts val="666"/>
        </a:spcAft>
        <a:buClrTx/>
        <a:buFont typeface="Arial" pitchFamily="34" charset="0"/>
        <a:buChar char="–"/>
        <a:defRPr sz="1599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4pPr>
      <a:lvl5pPr marL="0" indent="0" algn="l" defTabSz="1218774" rtl="0" eaLnBrk="1" latinLnBrk="0" hangingPunct="1">
        <a:lnSpc>
          <a:spcPct val="100000"/>
        </a:lnSpc>
        <a:spcBef>
          <a:spcPts val="0"/>
        </a:spcBef>
        <a:spcAft>
          <a:spcPts val="1866"/>
        </a:spcAft>
        <a:buFontTx/>
        <a:buNone/>
        <a:defRPr sz="2133" b="1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5pPr>
      <a:lvl6pPr marL="3351626" indent="-304693" algn="l" defTabSz="1218774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014" indent="-304693" algn="l" defTabSz="1218774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401" indent="-304693" algn="l" defTabSz="1218774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79787" indent="-304693" algn="l" defTabSz="1218774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87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774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160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546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933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321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707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094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52952887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65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33" name="Objekt 3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A681B7-2FDA-4F48-9800-CF23F428CB0F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3271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552000" y="254530"/>
            <a:ext cx="11088000" cy="82073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552000" y="1458545"/>
            <a:ext cx="11088000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26" name="meta-classification"/>
          <p:cNvSpPr txBox="1"/>
          <p:nvPr/>
        </p:nvSpPr>
        <p:spPr>
          <a:xfrm>
            <a:off x="552000" y="1"/>
            <a:ext cx="1203856" cy="275690"/>
          </a:xfrm>
          <a:prstGeom prst="rect">
            <a:avLst/>
          </a:prstGeom>
          <a:noFill/>
          <a:ln>
            <a:noFill/>
          </a:ln>
        </p:spPr>
        <p:txBody>
          <a:bodyPr wrap="none" lIns="0" tIns="110400" rIns="0" bIns="0" rtlCol="0" anchor="t" anchorCtr="0">
            <a:spAutoFit/>
          </a:bodyPr>
          <a:lstStyle/>
          <a:p>
            <a:pPr lvl="0"/>
            <a:r>
              <a:rPr lang="en-US" sz="1067" b="1" dirty="0" smtClean="0">
                <a:solidFill>
                  <a:schemeClr val="accent1"/>
                </a:solidFill>
                <a:latin typeface="+mn-lt"/>
                <a:sym typeface="Delivery" panose="020F0503020204020204" pitchFamily="34" charset="0"/>
              </a:rPr>
              <a:t>FOR</a:t>
            </a:r>
            <a:r>
              <a:rPr lang="en-US" sz="1067" b="1" baseline="0" dirty="0" smtClean="0">
                <a:solidFill>
                  <a:schemeClr val="accent1"/>
                </a:solidFill>
                <a:latin typeface="+mn-lt"/>
                <a:sym typeface="Delivery" panose="020F0503020204020204" pitchFamily="34" charset="0"/>
              </a:rPr>
              <a:t> INTERNAL USE</a:t>
            </a:r>
            <a:endParaRPr lang="en-US" sz="1067" b="1" dirty="0">
              <a:solidFill>
                <a:schemeClr val="accent1"/>
              </a:solidFill>
              <a:latin typeface="+mn-lt"/>
              <a:sym typeface="Delivery" panose="020F0503020204020204" pitchFamily="34" charset="0"/>
            </a:endParaRPr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12192000" cy="68592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785102" y="6488333"/>
            <a:ext cx="8375281" cy="20825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333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algn="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SST Strategic Meeting (Quarterly) | virtual | 21st April 2021</a:t>
            </a:r>
            <a:endParaRPr lang="en-US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5" y="6488333"/>
            <a:ext cx="485516" cy="20518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9170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866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  <p:sldLayoutId id="2147483971" r:id="rId20"/>
    <p:sldLayoutId id="2147483972" r:id="rId21"/>
    <p:sldLayoutId id="2147483973" r:id="rId22"/>
    <p:sldLayoutId id="2147483974" r:id="rId23"/>
    <p:sldLayoutId id="2147483975" r:id="rId24"/>
    <p:sldLayoutId id="2147483976" r:id="rId25"/>
    <p:sldLayoutId id="2147483977" r:id="rId26"/>
    <p:sldLayoutId id="2147483978" r:id="rId27"/>
    <p:sldLayoutId id="2147483979" r:id="rId28"/>
    <p:sldLayoutId id="2147483980" r:id="rId2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400" b="1" kern="1200" cap="none" baseline="0">
          <a:solidFill>
            <a:srgbClr val="D40511"/>
          </a:solidFill>
          <a:latin typeface="+mj-lt"/>
          <a:ea typeface="+mj-ea"/>
          <a:cs typeface="+mj-cs"/>
          <a:sym typeface="Delivery" panose="020F0503020204020204" pitchFamily="34" charset="0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itchFamily="34" charset="0"/>
        <a:buNone/>
        <a:defRPr sz="1600" b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1pPr>
      <a:lvl2pPr marL="239994" marR="0" indent="-239994" algn="l" defTabSz="1219170" rtl="0" eaLnBrk="1" fontAlgn="auto" latinLnBrk="0" hangingPunct="1">
        <a:lnSpc>
          <a:spcPct val="110000"/>
        </a:lnSpc>
        <a:spcBef>
          <a:spcPts val="0"/>
        </a:spcBef>
        <a:spcAft>
          <a:spcPts val="667"/>
        </a:spcAft>
        <a:buClrTx/>
        <a:buSzTx/>
        <a:buFont typeface="Arial" pitchFamily="34" charset="0"/>
        <a:buChar char="•"/>
        <a:tabLst/>
        <a:defRPr sz="1600" b="0" i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2pPr>
      <a:lvl3pPr marL="479988" indent="-239994" algn="l" defTabSz="1219170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Tx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3pPr>
      <a:lvl4pPr marL="719982" indent="-239994" algn="l" defTabSz="1219170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Tx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4pPr>
      <a:lvl5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1867"/>
        </a:spcAft>
        <a:buFontTx/>
        <a:buNone/>
        <a:defRPr sz="2133" b="1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8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36"/>
            </p:custDataLst>
            <p:extLst/>
          </p:nvPr>
        </p:nvGraphicFramePr>
        <p:xfrm>
          <a:off x="2118" y="2119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67" name="think-cell Slide" r:id="rId39" imgW="360" imgH="360" progId="TCLayout.ActiveDocument.1">
                  <p:embed/>
                </p:oleObj>
              </mc:Choice>
              <mc:Fallback>
                <p:oleObj name="think-cell Slide" r:id="rId3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9"/>
                        <a:ext cx="2116" cy="21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4A681B7-2FDA-4F48-9800-CF23F428CB0F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1" y="2"/>
            <a:ext cx="211667" cy="21166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399" b="1" dirty="0" err="1">
              <a:solidFill>
                <a:srgbClr val="000000"/>
              </a:solidFill>
              <a:sym typeface="Delivery" panose="020F0503020204020204" pitchFamily="34" charset="0"/>
            </a:endParaRPr>
          </a:p>
        </p:txBody>
      </p:sp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552000" y="254532"/>
            <a:ext cx="11088000" cy="82073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552000" y="1458545"/>
            <a:ext cx="11088000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12192000" cy="68592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785104" y="6488334"/>
            <a:ext cx="8375281" cy="2082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333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pPr algn="r" defTabSz="132668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1158686" y="6488333"/>
            <a:ext cx="485516" cy="20518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1218774" rtl="0" eaLnBrk="1" latinLnBrk="0" hangingPunct="1">
              <a:defRPr lang="en-US" sz="1333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007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  <p:sldLayoutId id="2147484089" r:id="rId9"/>
    <p:sldLayoutId id="2147484090" r:id="rId10"/>
    <p:sldLayoutId id="2147484091" r:id="rId11"/>
    <p:sldLayoutId id="2147484092" r:id="rId12"/>
    <p:sldLayoutId id="2147484093" r:id="rId13"/>
    <p:sldLayoutId id="2147484094" r:id="rId14"/>
    <p:sldLayoutId id="2147484095" r:id="rId15"/>
    <p:sldLayoutId id="2147484096" r:id="rId16"/>
    <p:sldLayoutId id="2147484097" r:id="rId17"/>
    <p:sldLayoutId id="2147484098" r:id="rId18"/>
    <p:sldLayoutId id="2147484099" r:id="rId19"/>
    <p:sldLayoutId id="2147484100" r:id="rId20"/>
    <p:sldLayoutId id="2147484101" r:id="rId21"/>
    <p:sldLayoutId id="2147484102" r:id="rId22"/>
    <p:sldLayoutId id="2147484103" r:id="rId23"/>
    <p:sldLayoutId id="2147484104" r:id="rId24"/>
    <p:sldLayoutId id="2147484105" r:id="rId25"/>
    <p:sldLayoutId id="2147484106" r:id="rId26"/>
    <p:sldLayoutId id="2147484107" r:id="rId27"/>
    <p:sldLayoutId id="2147484108" r:id="rId28"/>
    <p:sldLayoutId id="2147484109" r:id="rId29"/>
    <p:sldLayoutId id="2147484110" r:id="rId30"/>
    <p:sldLayoutId id="2147484111" r:id="rId31"/>
    <p:sldLayoutId id="2147484112" r:id="rId32"/>
    <p:sldLayoutId id="2147484113" r:id="rId3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1218774" rtl="0" eaLnBrk="1" latinLnBrk="0" hangingPunct="1">
        <a:lnSpc>
          <a:spcPct val="100000"/>
        </a:lnSpc>
        <a:spcBef>
          <a:spcPct val="0"/>
        </a:spcBef>
        <a:buNone/>
        <a:defRPr sz="2399" b="1" kern="1200" cap="none" baseline="0">
          <a:solidFill>
            <a:srgbClr val="D40511"/>
          </a:solidFill>
          <a:latin typeface="+mj-lt"/>
          <a:ea typeface="+mj-ea"/>
          <a:cs typeface="+mj-cs"/>
          <a:sym typeface="Delivery" panose="020F0503020204020204" pitchFamily="34" charset="0"/>
        </a:defRPr>
      </a:lvl1pPr>
    </p:titleStyle>
    <p:bodyStyle>
      <a:lvl1pPr marL="0" indent="0" algn="l" defTabSz="1218774" rtl="0" eaLnBrk="1" latinLnBrk="0" hangingPunct="1">
        <a:lnSpc>
          <a:spcPct val="110000"/>
        </a:lnSpc>
        <a:spcBef>
          <a:spcPts val="0"/>
        </a:spcBef>
        <a:spcAft>
          <a:spcPts val="666"/>
        </a:spcAft>
        <a:buFont typeface="Arial" pitchFamily="34" charset="0"/>
        <a:buNone/>
        <a:defRPr sz="1599" b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1pPr>
      <a:lvl2pPr marL="239917" marR="0" indent="-239917" algn="l" defTabSz="1218774" rtl="0" eaLnBrk="1" fontAlgn="auto" latinLnBrk="0" hangingPunct="1">
        <a:lnSpc>
          <a:spcPct val="110000"/>
        </a:lnSpc>
        <a:spcBef>
          <a:spcPts val="0"/>
        </a:spcBef>
        <a:spcAft>
          <a:spcPts val="666"/>
        </a:spcAft>
        <a:buClrTx/>
        <a:buSzTx/>
        <a:buFont typeface="Arial" pitchFamily="34" charset="0"/>
        <a:buChar char="•"/>
        <a:tabLst/>
        <a:defRPr sz="1599" b="0" i="0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2pPr>
      <a:lvl3pPr marL="479832" indent="-239917" algn="l" defTabSz="1218774" rtl="0" eaLnBrk="1" latinLnBrk="0" hangingPunct="1">
        <a:lnSpc>
          <a:spcPct val="110000"/>
        </a:lnSpc>
        <a:spcBef>
          <a:spcPts val="0"/>
        </a:spcBef>
        <a:spcAft>
          <a:spcPts val="666"/>
        </a:spcAft>
        <a:buClrTx/>
        <a:buFont typeface="Arial" pitchFamily="34" charset="0"/>
        <a:buChar char="–"/>
        <a:defRPr sz="1599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3pPr>
      <a:lvl4pPr marL="719749" indent="-239917" algn="l" defTabSz="1218774" rtl="0" eaLnBrk="1" latinLnBrk="0" hangingPunct="1">
        <a:lnSpc>
          <a:spcPct val="110000"/>
        </a:lnSpc>
        <a:spcBef>
          <a:spcPts val="0"/>
        </a:spcBef>
        <a:spcAft>
          <a:spcPts val="666"/>
        </a:spcAft>
        <a:buClrTx/>
        <a:buFont typeface="Arial" pitchFamily="34" charset="0"/>
        <a:buChar char="–"/>
        <a:defRPr sz="1599" kern="120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4pPr>
      <a:lvl5pPr marL="0" indent="0" algn="l" defTabSz="1218774" rtl="0" eaLnBrk="1" latinLnBrk="0" hangingPunct="1">
        <a:lnSpc>
          <a:spcPct val="100000"/>
        </a:lnSpc>
        <a:spcBef>
          <a:spcPts val="0"/>
        </a:spcBef>
        <a:spcAft>
          <a:spcPts val="1866"/>
        </a:spcAft>
        <a:buFontTx/>
        <a:buNone/>
        <a:defRPr sz="2133" b="1" kern="1200" baseline="0">
          <a:solidFill>
            <a:schemeClr val="tx1"/>
          </a:solidFill>
          <a:latin typeface="+mn-lt"/>
          <a:ea typeface="+mn-ea"/>
          <a:cs typeface="+mn-cs"/>
          <a:sym typeface="Delivery" panose="020F0503020204020204" pitchFamily="34" charset="0"/>
        </a:defRPr>
      </a:lvl5pPr>
      <a:lvl6pPr marL="3351626" indent="-304693" algn="l" defTabSz="1218774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014" indent="-304693" algn="l" defTabSz="1218774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401" indent="-304693" algn="l" defTabSz="1218774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79787" indent="-304693" algn="l" defTabSz="1218774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87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774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160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546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933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321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707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094" algn="l" defTabSz="121877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85587592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284" name="think-cell Slide" r:id="rId29" imgW="351" imgH="351" progId="TCLayout.ActiveDocument.1">
                  <p:embed/>
                </p:oleObj>
              </mc:Choice>
              <mc:Fallback>
                <p:oleObj name="think-cell Slide" r:id="rId29" imgW="351" imgH="35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eaLnBrk="1"/>
            <a:endParaRPr lang="en-US" sz="2400" b="1" i="0" baseline="0" dirty="0" err="1">
              <a:solidFill>
                <a:schemeClr val="tx1"/>
              </a:solidFill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999" y="6405310"/>
            <a:ext cx="10823376" cy="184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5376" y="6405310"/>
            <a:ext cx="504625" cy="1846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>
          <a:xfrm>
            <a:off x="432000" y="154825"/>
            <a:ext cx="3648000" cy="192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1067" b="1" i="0" u="none" strike="noStrike" cap="all" baseline="0">
                <a:solidFill>
                  <a:schemeClr val="accent1"/>
                </a:solidFill>
                <a:latin typeface="+mn-lt"/>
              </a:rPr>
              <a:t>FOR INTERNAL U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1" y="1534584"/>
            <a:ext cx="11327999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 sz="1600"/>
              <a:t>Paragraph Headline, Delivery Bold, 12 </a:t>
            </a:r>
            <a:r>
              <a:rPr lang="en-US" sz="1600" err="1"/>
              <a:t>pt</a:t>
            </a:r>
            <a:endParaRPr lang="en-US" sz="1600"/>
          </a:p>
          <a:p>
            <a:pPr lvl="6"/>
            <a:r>
              <a:rPr lang="en-US" sz="1600"/>
              <a:t>Bullet number, Delivery, 12 </a:t>
            </a:r>
            <a:r>
              <a:rPr lang="en-US" sz="1600" err="1"/>
              <a:t>pt</a:t>
            </a:r>
          </a:p>
          <a:p>
            <a:pPr lvl="6"/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513551"/>
            <a:ext cx="11327999" cy="658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60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  <p:sldLayoutId id="2147484123" r:id="rId9"/>
    <p:sldLayoutId id="2147484124" r:id="rId10"/>
    <p:sldLayoutId id="2147484125" r:id="rId11"/>
    <p:sldLayoutId id="2147484126" r:id="rId12"/>
    <p:sldLayoutId id="2147484127" r:id="rId13"/>
    <p:sldLayoutId id="2147484128" r:id="rId14"/>
    <p:sldLayoutId id="2147484129" r:id="rId15"/>
    <p:sldLayoutId id="2147484130" r:id="rId16"/>
    <p:sldLayoutId id="2147484131" r:id="rId17"/>
    <p:sldLayoutId id="2147484132" r:id="rId18"/>
    <p:sldLayoutId id="2147484133" r:id="rId19"/>
    <p:sldLayoutId id="2147484134" r:id="rId20"/>
    <p:sldLayoutId id="2147484135" r:id="rId21"/>
    <p:sldLayoutId id="2147484136" r:id="rId22"/>
    <p:sldLayoutId id="2147484137" r:id="rId23"/>
    <p:sldLayoutId id="2147484138" r:id="rId24"/>
  </p:sldLayoutIdLst>
  <p:hf sldNum="0"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982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+mj-lt"/>
        <a:buAutoNum type="arabicPeriod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333" kern="10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6" orient="horz" pos="725">
          <p15:clr>
            <a:srgbClr val="F26B43"/>
          </p15:clr>
        </p15:guide>
        <p15:guide id="17" orient="horz" pos="2949">
          <p15:clr>
            <a:srgbClr val="F26B43"/>
          </p15:clr>
        </p15:guide>
        <p15:guide id="18" orient="horz" pos="2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68879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42" name="think-cell Slide" r:id="rId29" imgW="351" imgH="351" progId="TCLayout.ActiveDocument.1">
                  <p:embed/>
                </p:oleObj>
              </mc:Choice>
              <mc:Fallback>
                <p:oleObj name="think-cell Slide" r:id="rId29" imgW="351" imgH="35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eaLnBrk="1"/>
            <a:endParaRPr lang="en-US" sz="2400" b="1" i="0" baseline="0" dirty="0" err="1">
              <a:solidFill>
                <a:schemeClr val="tx1"/>
              </a:solidFill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999" y="6405310"/>
            <a:ext cx="10823376" cy="184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Robotics Hub Introduction | Accelerated Digitalization | BY CoE | April 2021</a:t>
            </a:r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5376" y="6405310"/>
            <a:ext cx="504625" cy="1846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>
          <a:xfrm>
            <a:off x="432000" y="154825"/>
            <a:ext cx="3648000" cy="192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1067" b="1" i="0" u="none" strike="noStrike" cap="all" baseline="0">
                <a:solidFill>
                  <a:schemeClr val="accent1"/>
                </a:solidFill>
                <a:latin typeface="+mn-lt"/>
              </a:rPr>
              <a:t>FOR INTERNAL U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1" y="1534584"/>
            <a:ext cx="11327999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 sz="1600"/>
              <a:t>Paragraph Headline, Delivery Bold, 12 </a:t>
            </a:r>
            <a:r>
              <a:rPr lang="en-US" sz="1600" err="1"/>
              <a:t>pt</a:t>
            </a:r>
            <a:endParaRPr lang="en-US" sz="1600"/>
          </a:p>
          <a:p>
            <a:pPr lvl="6"/>
            <a:r>
              <a:rPr lang="en-US" sz="1600"/>
              <a:t>Bullet number, Delivery, 12 </a:t>
            </a:r>
            <a:r>
              <a:rPr lang="en-US" sz="1600" err="1"/>
              <a:t>pt</a:t>
            </a:r>
          </a:p>
          <a:p>
            <a:pPr lvl="6"/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513551"/>
            <a:ext cx="11327999" cy="658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27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0" r:id="rId1"/>
    <p:sldLayoutId id="2147484141" r:id="rId2"/>
    <p:sldLayoutId id="2147484142" r:id="rId3"/>
    <p:sldLayoutId id="2147484143" r:id="rId4"/>
    <p:sldLayoutId id="2147484144" r:id="rId5"/>
    <p:sldLayoutId id="2147484145" r:id="rId6"/>
    <p:sldLayoutId id="2147484146" r:id="rId7"/>
    <p:sldLayoutId id="2147484147" r:id="rId8"/>
    <p:sldLayoutId id="2147484148" r:id="rId9"/>
    <p:sldLayoutId id="2147484149" r:id="rId10"/>
    <p:sldLayoutId id="2147484150" r:id="rId11"/>
    <p:sldLayoutId id="2147484151" r:id="rId12"/>
    <p:sldLayoutId id="2147484152" r:id="rId13"/>
    <p:sldLayoutId id="2147484153" r:id="rId14"/>
    <p:sldLayoutId id="2147484154" r:id="rId15"/>
    <p:sldLayoutId id="2147484155" r:id="rId16"/>
    <p:sldLayoutId id="2147484156" r:id="rId17"/>
    <p:sldLayoutId id="2147484157" r:id="rId18"/>
    <p:sldLayoutId id="2147484158" r:id="rId19"/>
    <p:sldLayoutId id="2147484159" r:id="rId20"/>
    <p:sldLayoutId id="2147484160" r:id="rId21"/>
    <p:sldLayoutId id="2147484161" r:id="rId22"/>
    <p:sldLayoutId id="2147484162" r:id="rId23"/>
    <p:sldLayoutId id="2147484163" r:id="rId24"/>
  </p:sldLayoutIdLst>
  <p:hf sldNum="0"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982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+mj-lt"/>
        <a:buAutoNum type="arabicPeriod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333" kern="10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6" orient="horz" pos="725">
          <p15:clr>
            <a:srgbClr val="F26B43"/>
          </p15:clr>
        </p15:guide>
        <p15:guide id="17" orient="horz" pos="2949">
          <p15:clr>
            <a:srgbClr val="F26B43"/>
          </p15:clr>
        </p15:guide>
        <p15:guide id="18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7" Type="http://schemas.openxmlformats.org/officeDocument/2006/relationships/image" Target="../media/image1.emf"/><Relationship Id="rId2" Type="http://schemas.openxmlformats.org/officeDocument/2006/relationships/tags" Target="../tags/tag353.xml"/><Relationship Id="rId1" Type="http://schemas.openxmlformats.org/officeDocument/2006/relationships/vmlDrawing" Target="../drawings/vmlDrawing177.vml"/><Relationship Id="rId6" Type="http://schemas.openxmlformats.org/officeDocument/2006/relationships/oleObject" Target="../embeddings/oleObject177.bin"/><Relationship Id="rId5" Type="http://schemas.openxmlformats.org/officeDocument/2006/relationships/image" Target="../media/image19.jp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76.xml"/><Relationship Id="rId2" Type="http://schemas.openxmlformats.org/officeDocument/2006/relationships/tags" Target="../tags/tag375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86.bin"/><Relationship Id="rId4" Type="http://schemas.openxmlformats.org/officeDocument/2006/relationships/slideLayout" Target="../slideLayouts/slideLayout20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79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4" Type="http://schemas.openxmlformats.org/officeDocument/2006/relationships/slideLayout" Target="../slideLayouts/slideLayout20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emf"/><Relationship Id="rId3" Type="http://schemas.openxmlformats.org/officeDocument/2006/relationships/tags" Target="../tags/tag381.xml"/><Relationship Id="rId7" Type="http://schemas.openxmlformats.org/officeDocument/2006/relationships/oleObject" Target="../embeddings/oleObject187.bin"/><Relationship Id="rId2" Type="http://schemas.openxmlformats.org/officeDocument/2006/relationships/tags" Target="../tags/tag380.xml"/><Relationship Id="rId1" Type="http://schemas.openxmlformats.org/officeDocument/2006/relationships/vmlDrawing" Target="../drawings/vmlDrawing187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00.xml"/><Relationship Id="rId4" Type="http://schemas.openxmlformats.org/officeDocument/2006/relationships/tags" Target="../tags/tag38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tags" Target="../tags/tag384.xml"/><Relationship Id="rId7" Type="http://schemas.openxmlformats.org/officeDocument/2006/relationships/image" Target="../media/image74.png"/><Relationship Id="rId2" Type="http://schemas.openxmlformats.org/officeDocument/2006/relationships/tags" Target="../tags/tag383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188.bin"/><Relationship Id="rId4" Type="http://schemas.openxmlformats.org/officeDocument/2006/relationships/slideLayout" Target="../slideLayouts/slideLayout20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video/live/urn:li:ugcPost:6691363206381875200/" TargetMode="External"/><Relationship Id="rId3" Type="http://schemas.openxmlformats.org/officeDocument/2006/relationships/tags" Target="../tags/tag386.xml"/><Relationship Id="rId7" Type="http://schemas.openxmlformats.org/officeDocument/2006/relationships/image" Target="../media/image76.png"/><Relationship Id="rId12" Type="http://schemas.openxmlformats.org/officeDocument/2006/relationships/image" Target="../media/image79.png"/><Relationship Id="rId2" Type="http://schemas.openxmlformats.org/officeDocument/2006/relationships/tags" Target="../tags/tag385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61.emf"/><Relationship Id="rId11" Type="http://schemas.openxmlformats.org/officeDocument/2006/relationships/image" Target="../media/image78.png"/><Relationship Id="rId5" Type="http://schemas.openxmlformats.org/officeDocument/2006/relationships/oleObject" Target="../embeddings/oleObject189.bin"/><Relationship Id="rId10" Type="http://schemas.openxmlformats.org/officeDocument/2006/relationships/image" Target="../media/image77.png"/><Relationship Id="rId4" Type="http://schemas.openxmlformats.org/officeDocument/2006/relationships/slideLayout" Target="../slideLayouts/slideLayout200.xml"/><Relationship Id="rId9" Type="http://schemas.openxmlformats.org/officeDocument/2006/relationships/hyperlink" Target="https://digital.supplychain.dhl/dhl-supply-chain-launches-software-platform-with-blue-yonder-on-microsoft-cloud-to-accelerate-implementation-of-warehouse-robotics-through-standardization/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93.xml"/><Relationship Id="rId13" Type="http://schemas.openxmlformats.org/officeDocument/2006/relationships/image" Target="../media/image35.emf"/><Relationship Id="rId3" Type="http://schemas.openxmlformats.org/officeDocument/2006/relationships/tags" Target="../tags/tag388.xml"/><Relationship Id="rId7" Type="http://schemas.openxmlformats.org/officeDocument/2006/relationships/tags" Target="../tags/tag392.xml"/><Relationship Id="rId12" Type="http://schemas.openxmlformats.org/officeDocument/2006/relationships/oleObject" Target="../embeddings/oleObject190.bin"/><Relationship Id="rId2" Type="http://schemas.openxmlformats.org/officeDocument/2006/relationships/tags" Target="../tags/tag387.xml"/><Relationship Id="rId1" Type="http://schemas.openxmlformats.org/officeDocument/2006/relationships/vmlDrawing" Target="../drawings/vmlDrawing190.vml"/><Relationship Id="rId6" Type="http://schemas.openxmlformats.org/officeDocument/2006/relationships/tags" Target="../tags/tag391.xml"/><Relationship Id="rId11" Type="http://schemas.openxmlformats.org/officeDocument/2006/relationships/slideLayout" Target="../slideLayouts/slideLayout200.xml"/><Relationship Id="rId5" Type="http://schemas.openxmlformats.org/officeDocument/2006/relationships/tags" Target="../tags/tag390.xml"/><Relationship Id="rId10" Type="http://schemas.openxmlformats.org/officeDocument/2006/relationships/tags" Target="../tags/tag395.xml"/><Relationship Id="rId4" Type="http://schemas.openxmlformats.org/officeDocument/2006/relationships/tags" Target="../tags/tag389.xml"/><Relationship Id="rId9" Type="http://schemas.openxmlformats.org/officeDocument/2006/relationships/tags" Target="../tags/tag394.xml"/><Relationship Id="rId14" Type="http://schemas.openxmlformats.org/officeDocument/2006/relationships/hyperlink" Target="https://digital.supplychain.dhl/accelerated-digitalization/regional-deployment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esharenew.dhl.com/sites/AccDigCCDSC/ProductCollaterals/Shared%20Documents/Forms/AllItems.aspx?RootFolder=/sites/AccDigCCDSC/ProductCollaterals/Shared%20Documents/03%20-%20Goods%20to%20Person%20Robots/2.%20Site%20Assessment&amp;PageView=Shared&amp;FolderCTID=0x0120003F1D20F5790BE64F832DBC1FA8E455C2&amp;View=%7b80A66C4D-3AC3-4C3E-8935-A23E59E0402E%7d" TargetMode="External"/><Relationship Id="rId2" Type="http://schemas.openxmlformats.org/officeDocument/2006/relationships/hyperlink" Target="https://esharenew.dhl.com/sites/AccDigCCDSC/ProductCollaterals/Shared%20Documents/Forms/AllItems.aspx?RootFolder=/sites/AccDigCCDSC/ProductCollaterals/Shared%20Documents/03%20-%20Goods%20to%20Person%20Robots/1.%20Potential%20Opportunity&amp;PageView=Shared&amp;FolderCTID=0x0120003F1D20F5790BE64F832DBC1FA8E455C2&amp;View=%7b80A66C4D-3AC3-4C3E-8935-A23E59E0402E%7d" TargetMode="External"/><Relationship Id="rId1" Type="http://schemas.openxmlformats.org/officeDocument/2006/relationships/slideLayout" Target="../slideLayouts/slideLayout200.xml"/><Relationship Id="rId5" Type="http://schemas.openxmlformats.org/officeDocument/2006/relationships/hyperlink" Target="https://esharenew.dhl.com/sites/AccDigCCDSC/ProductCollaterals/Shared%20Documents/Forms/AllItems.aspx?RootFolder=/sites/AccDigCCDSC/ProductCollaterals/Shared%20Documents/03%20-%20Goods%20to%20Person%20Robots/4.%20Deployment&amp;PageView=Shared&amp;FolderCTID=0x0120003F1D20F5790BE64F832DBC1FA8E455C2&amp;View=%7b80A66C4D-3AC3-4C3E-8935-A23E59E0402E%7d" TargetMode="External"/><Relationship Id="rId4" Type="http://schemas.openxmlformats.org/officeDocument/2006/relationships/hyperlink" Target="https://esharenew.dhl.com/sites/AccDigCCDSC/ProductCollaterals/Shared%20Documents/Forms/AllItems.aspx?RootFolder=/sites/AccDigCCDSC/ProductCollaterals/Shared%20Documents/03%20-%20Goods%20to%20Person%20Robots/3.%20Planning%20and%20Approval&amp;PageView=Shared&amp;FolderCTID=0x0120003F1D20F5790BE64F832DBC1FA8E455C2&amp;View=%7b80A66C4D-3AC3-4C3E-8935-A23E59E0402E%7d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356.xml"/><Relationship Id="rId7" Type="http://schemas.openxmlformats.org/officeDocument/2006/relationships/image" Target="../media/image45.emf"/><Relationship Id="rId2" Type="http://schemas.openxmlformats.org/officeDocument/2006/relationships/tags" Target="../tags/tag355.xml"/><Relationship Id="rId1" Type="http://schemas.openxmlformats.org/officeDocument/2006/relationships/vmlDrawing" Target="../drawings/vmlDrawing178.vml"/><Relationship Id="rId6" Type="http://schemas.openxmlformats.org/officeDocument/2006/relationships/oleObject" Target="../embeddings/oleObject178.bin"/><Relationship Id="rId5" Type="http://schemas.openxmlformats.org/officeDocument/2006/relationships/image" Target="../media/image46.jpg"/><Relationship Id="rId4" Type="http://schemas.openxmlformats.org/officeDocument/2006/relationships/slideLayout" Target="../slideLayouts/slideLayout84.xml"/><Relationship Id="rId9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358.xml"/><Relationship Id="rId7" Type="http://schemas.openxmlformats.org/officeDocument/2006/relationships/image" Target="../media/image45.emf"/><Relationship Id="rId2" Type="http://schemas.openxmlformats.org/officeDocument/2006/relationships/tags" Target="../tags/tag357.xml"/><Relationship Id="rId1" Type="http://schemas.openxmlformats.org/officeDocument/2006/relationships/vmlDrawing" Target="../drawings/vmlDrawing179.vml"/><Relationship Id="rId6" Type="http://schemas.openxmlformats.org/officeDocument/2006/relationships/oleObject" Target="../embeddings/oleObject179.bin"/><Relationship Id="rId5" Type="http://schemas.openxmlformats.org/officeDocument/2006/relationships/image" Target="../media/image46.jpg"/><Relationship Id="rId4" Type="http://schemas.openxmlformats.org/officeDocument/2006/relationships/slideLayout" Target="../slideLayouts/slideLayout84.xml"/><Relationship Id="rId9" Type="http://schemas.openxmlformats.org/officeDocument/2006/relationships/image" Target="../media/image4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emf"/><Relationship Id="rId3" Type="http://schemas.openxmlformats.org/officeDocument/2006/relationships/tags" Target="../tags/tag360.xml"/><Relationship Id="rId7" Type="http://schemas.openxmlformats.org/officeDocument/2006/relationships/oleObject" Target="../embeddings/oleObject180.bin"/><Relationship Id="rId2" Type="http://schemas.openxmlformats.org/officeDocument/2006/relationships/tags" Target="../tags/tag359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19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emf"/><Relationship Id="rId3" Type="http://schemas.openxmlformats.org/officeDocument/2006/relationships/tags" Target="../tags/tag362.xml"/><Relationship Id="rId7" Type="http://schemas.openxmlformats.org/officeDocument/2006/relationships/oleObject" Target="../embeddings/oleObject181.bin"/><Relationship Id="rId2" Type="http://schemas.openxmlformats.org/officeDocument/2006/relationships/tags" Target="../tags/tag361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19.jp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1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emf"/><Relationship Id="rId13" Type="http://schemas.openxmlformats.org/officeDocument/2006/relationships/image" Target="../media/image57.png"/><Relationship Id="rId3" Type="http://schemas.openxmlformats.org/officeDocument/2006/relationships/tags" Target="../tags/tag364.xml"/><Relationship Id="rId7" Type="http://schemas.openxmlformats.org/officeDocument/2006/relationships/oleObject" Target="../embeddings/oleObject182.bin"/><Relationship Id="rId12" Type="http://schemas.openxmlformats.org/officeDocument/2006/relationships/image" Target="../media/image56.png"/><Relationship Id="rId2" Type="http://schemas.openxmlformats.org/officeDocument/2006/relationships/tags" Target="../tags/tag363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19.jpg"/><Relationship Id="rId11" Type="http://schemas.openxmlformats.org/officeDocument/2006/relationships/image" Target="../media/image55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54.png"/><Relationship Id="rId4" Type="http://schemas.openxmlformats.org/officeDocument/2006/relationships/slideLayout" Target="../slideLayouts/slideLayout147.xml"/><Relationship Id="rId9" Type="http://schemas.openxmlformats.org/officeDocument/2006/relationships/image" Target="../media/image5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tags" Target="../tags/tag366.xml"/><Relationship Id="rId7" Type="http://schemas.openxmlformats.org/officeDocument/2006/relationships/image" Target="../media/image59.jpeg"/><Relationship Id="rId2" Type="http://schemas.openxmlformats.org/officeDocument/2006/relationships/tags" Target="../tags/tag365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58.emf"/><Relationship Id="rId5" Type="http://schemas.openxmlformats.org/officeDocument/2006/relationships/oleObject" Target="../embeddings/oleObject183.bin"/><Relationship Id="rId4" Type="http://schemas.openxmlformats.org/officeDocument/2006/relationships/slideLayout" Target="../slideLayouts/slideLayout19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368.xml"/><Relationship Id="rId7" Type="http://schemas.openxmlformats.org/officeDocument/2006/relationships/slideLayout" Target="../slideLayouts/slideLayout200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184.vml"/><Relationship Id="rId6" Type="http://schemas.openxmlformats.org/officeDocument/2006/relationships/tags" Target="../tags/tag371.xml"/><Relationship Id="rId5" Type="http://schemas.openxmlformats.org/officeDocument/2006/relationships/tags" Target="../tags/tag370.xml"/><Relationship Id="rId10" Type="http://schemas.openxmlformats.org/officeDocument/2006/relationships/image" Target="../media/image61.emf"/><Relationship Id="rId4" Type="http://schemas.openxmlformats.org/officeDocument/2006/relationships/tags" Target="../tags/tag369.xml"/><Relationship Id="rId9" Type="http://schemas.openxmlformats.org/officeDocument/2006/relationships/oleObject" Target="../embeddings/oleObject18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png"/><Relationship Id="rId18" Type="http://schemas.openxmlformats.org/officeDocument/2006/relationships/image" Target="../media/image73.png"/><Relationship Id="rId3" Type="http://schemas.openxmlformats.org/officeDocument/2006/relationships/tags" Target="../tags/tag373.xml"/><Relationship Id="rId7" Type="http://schemas.openxmlformats.org/officeDocument/2006/relationships/image" Target="../media/image62.emf"/><Relationship Id="rId12" Type="http://schemas.openxmlformats.org/officeDocument/2006/relationships/image" Target="../media/image67.png"/><Relationship Id="rId17" Type="http://schemas.openxmlformats.org/officeDocument/2006/relationships/image" Target="../media/image72.png"/><Relationship Id="rId2" Type="http://schemas.openxmlformats.org/officeDocument/2006/relationships/tags" Target="../tags/tag372.xml"/><Relationship Id="rId16" Type="http://schemas.openxmlformats.org/officeDocument/2006/relationships/image" Target="../media/image71.png"/><Relationship Id="rId1" Type="http://schemas.openxmlformats.org/officeDocument/2006/relationships/vmlDrawing" Target="../drawings/vmlDrawing185.vml"/><Relationship Id="rId6" Type="http://schemas.openxmlformats.org/officeDocument/2006/relationships/oleObject" Target="../embeddings/oleObject185.bin"/><Relationship Id="rId11" Type="http://schemas.openxmlformats.org/officeDocument/2006/relationships/image" Target="../media/image66.png"/><Relationship Id="rId5" Type="http://schemas.openxmlformats.org/officeDocument/2006/relationships/slideLayout" Target="../slideLayouts/slideLayout200.xml"/><Relationship Id="rId15" Type="http://schemas.openxmlformats.org/officeDocument/2006/relationships/image" Target="../media/image70.png"/><Relationship Id="rId10" Type="http://schemas.openxmlformats.org/officeDocument/2006/relationships/image" Target="../media/image65.png"/><Relationship Id="rId4" Type="http://schemas.openxmlformats.org/officeDocument/2006/relationships/tags" Target="../tags/tag374.xml"/><Relationship Id="rId9" Type="http://schemas.openxmlformats.org/officeDocument/2006/relationships/image" Target="../media/image64.png"/><Relationship Id="rId14" Type="http://schemas.openxmlformats.org/officeDocument/2006/relationships/image" Target="../media/image6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554852"/>
              </p:ext>
            </p:extLst>
          </p:nvPr>
        </p:nvGraphicFramePr>
        <p:xfrm>
          <a:off x="3999" y="3176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999" y="3176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1882" y="1060"/>
            <a:ext cx="211601" cy="2116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defTabSz="914080"/>
            <a:endParaRPr lang="en-US" sz="4800" dirty="0" err="1">
              <a:solidFill>
                <a:prstClr val="black"/>
              </a:solidFill>
              <a:latin typeface="Delivery Cd Black" panose="020F0906020204020204" pitchFamily="34" charset="0"/>
              <a:ea typeface="+mj-ea"/>
              <a:cs typeface="+mj-cs"/>
              <a:sym typeface="Delivery Cd Black" panose="020F0906020204020204" pitchFamily="34" charset="0"/>
            </a:endParaRP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75E7FE53-353E-48F2-8498-F4CD6EAB87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81" y="-4940"/>
            <a:ext cx="12188238" cy="6861882"/>
          </a:xfrm>
          <a:solidFill>
            <a:schemeClr val="tx1">
              <a:alpha val="7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DB4A27F-DC08-4818-8C1C-6A5DD3C609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15175" y="5921771"/>
            <a:ext cx="11540438" cy="724770"/>
          </a:xfrm>
        </p:spPr>
        <p:txBody>
          <a:bodyPr/>
          <a:lstStyle/>
          <a:p>
            <a:endParaRPr lang="de-DE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BAB25DF-3A1C-4FD4-8666-EEFB5DDBE7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4338" y="2191591"/>
            <a:ext cx="11324503" cy="670746"/>
          </a:xfrm>
        </p:spPr>
        <p:txBody>
          <a:bodyPr/>
          <a:lstStyle/>
          <a:p>
            <a:r>
              <a:rPr lang="en-US" dirty="0" smtClean="0"/>
              <a:t>DHL LOGISTICS TREND </a:t>
            </a:r>
            <a:r>
              <a:rPr lang="en-US" dirty="0" smtClean="0"/>
              <a:t>RADAR CHANNEL DEEP Dive</a:t>
            </a:r>
            <a:endParaRPr lang="en-US" dirty="0" smtClean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CC77E0C-F69A-404F-A4D7-F4E1A40E2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721" y="193710"/>
            <a:ext cx="11324503" cy="1997881"/>
          </a:xfrm>
        </p:spPr>
        <p:txBody>
          <a:bodyPr/>
          <a:lstStyle/>
          <a:p>
            <a:r>
              <a:rPr lang="en-US" dirty="0" smtClean="0"/>
              <a:t>CLOUD &amp; API’s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4CC95D-81BD-496E-838E-C31ED70BC6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4337" y="3302345"/>
            <a:ext cx="6730996" cy="533315"/>
          </a:xfrm>
        </p:spPr>
        <p:txBody>
          <a:bodyPr/>
          <a:lstStyle/>
          <a:p>
            <a:r>
              <a:rPr lang="en-US" b="1" dirty="0" smtClean="0"/>
              <a:t>Ben Gesing &amp; Antony Cotterill</a:t>
            </a:r>
            <a:endParaRPr lang="en-US" b="1" dirty="0" smtClean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E622AA6-F8AD-4A9E-9B7D-2CCD26F9B2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7720" y="5098719"/>
            <a:ext cx="6191055" cy="262636"/>
          </a:xfrm>
        </p:spPr>
        <p:txBody>
          <a:bodyPr/>
          <a:lstStyle/>
          <a:p>
            <a:r>
              <a:rPr lang="en-US" dirty="0"/>
              <a:t>DHL </a:t>
            </a:r>
            <a:r>
              <a:rPr lang="en-US" dirty="0" smtClean="0"/>
              <a:t>Customer Solutions &amp; Innovation</a:t>
            </a:r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7FAC4EB3-60CA-4083-B8A6-C1DADA89B72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4027" y="6133343"/>
            <a:ext cx="1990111" cy="301624"/>
          </a:xfrm>
        </p:spPr>
        <p:txBody>
          <a:bodyPr/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2" name="AutoShape 293" descr="BMW Logo | The most famous brands and company logos in the world"/>
          <p:cNvSpPr>
            <a:spLocks noChangeAspect="1" noChangeArrowheads="1"/>
          </p:cNvSpPr>
          <p:nvPr/>
        </p:nvSpPr>
        <p:spPr bwMode="auto">
          <a:xfrm>
            <a:off x="157408" y="-143359"/>
            <a:ext cx="304706" cy="304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2" tIns="45706" rIns="91412" bIns="45706" numCol="1" anchor="t" anchorCtr="0" compatLnSpc="1">
            <a:prstTxWarp prst="textNoShape">
              <a:avLst/>
            </a:prstTxWarp>
          </a:bodyPr>
          <a:lstStyle/>
          <a:p>
            <a:pPr defTabSz="914103"/>
            <a:endParaRPr lang="de-DE" sz="1799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3" name="AutoShape 295" descr="BMW Logo | The most famous brands and company logos in the world"/>
          <p:cNvSpPr>
            <a:spLocks noChangeAspect="1" noChangeArrowheads="1"/>
          </p:cNvSpPr>
          <p:nvPr/>
        </p:nvSpPr>
        <p:spPr bwMode="auto">
          <a:xfrm>
            <a:off x="309761" y="8994"/>
            <a:ext cx="304706" cy="304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2" tIns="45706" rIns="91412" bIns="45706" numCol="1" anchor="t" anchorCtr="0" compatLnSpc="1">
            <a:prstTxWarp prst="textNoShape">
              <a:avLst/>
            </a:prstTxWarp>
          </a:bodyPr>
          <a:lstStyle/>
          <a:p>
            <a:pPr defTabSz="914103"/>
            <a:endParaRPr lang="de-DE" sz="1799">
              <a:solidFill>
                <a:prstClr val="black"/>
              </a:solidFill>
              <a:latin typeface="Delivery"/>
            </a:endParaRPr>
          </a:p>
        </p:txBody>
      </p:sp>
    </p:spTree>
    <p:extLst>
      <p:ext uri="{BB962C8B-B14F-4D97-AF65-F5344CB8AC3E}">
        <p14:creationId xmlns:p14="http://schemas.microsoft.com/office/powerpoint/2010/main" val="394559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7" name="Object 14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47" name="Object 14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Rectangle 14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defTabSz="914377"/>
            <a:endParaRPr lang="en-US" sz="2400" b="1" dirty="0" err="1">
              <a:solidFill>
                <a:prstClr val="black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obotics Hub is a collaborative platform that orchestrates Robotics and Automation by offering pre-connectivity between technologies and system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77"/>
            <a:r>
              <a:rPr lang="en-US">
                <a:solidFill>
                  <a:prstClr val="black"/>
                </a:solidFill>
                <a:latin typeface="Delivery"/>
              </a:rPr>
              <a:t>Robotics Hub Introduction | Accelerated Digitalization | BY CoE | April 2021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579515" y="1550086"/>
            <a:ext cx="5414885" cy="4705476"/>
            <a:chOff x="413999" y="1871733"/>
            <a:chExt cx="4061164" cy="3696834"/>
          </a:xfrm>
        </p:grpSpPr>
        <p:sp>
          <p:nvSpPr>
            <p:cNvPr id="100" name="Rechteck 29"/>
            <p:cNvSpPr/>
            <p:nvPr/>
          </p:nvSpPr>
          <p:spPr bwMode="gray">
            <a:xfrm>
              <a:off x="413999" y="2159115"/>
              <a:ext cx="4061164" cy="3409452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44000" tIns="144000" rIns="144000" bIns="144000" numCol="1" rtlCol="0" anchor="t" anchorCtr="0" compatLnSpc="1">
              <a:prstTxWarp prst="textNoShape">
                <a:avLst/>
              </a:prstTxWarp>
            </a:bodyPr>
            <a:lstStyle/>
            <a:p>
              <a:pPr defTabSz="1327117" eaLnBrk="0" fontAlgn="base" hangingPunct="0">
                <a:spcBef>
                  <a:spcPct val="0"/>
                </a:spcBef>
                <a:spcAft>
                  <a:spcPts val="1067"/>
                </a:spcAft>
                <a:defRPr/>
              </a:pP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Isolated Point to Point integrations - Every project is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unique </a:t>
              </a: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and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customized</a:t>
              </a:r>
            </a:p>
            <a:p>
              <a:pPr defTabSz="1327117" eaLnBrk="0" fontAlgn="base" hangingPunct="0">
                <a:spcBef>
                  <a:spcPct val="0"/>
                </a:spcBef>
                <a:spcAft>
                  <a:spcPts val="1067"/>
                </a:spcAft>
                <a:defRPr/>
              </a:pP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Re-usage of components only happens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coincidentally</a:t>
              </a:r>
            </a:p>
            <a:p>
              <a:pPr defTabSz="1327117" eaLnBrk="0" fontAlgn="base" hangingPunct="0">
                <a:spcBef>
                  <a:spcPct val="0"/>
                </a:spcBef>
                <a:spcAft>
                  <a:spcPts val="1067"/>
                </a:spcAft>
                <a:defRPr/>
              </a:pP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Individual integration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complexity</a:t>
              </a: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 and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cost</a:t>
              </a: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 are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high</a:t>
              </a:r>
            </a:p>
            <a:p>
              <a:pPr defTabSz="1327117" eaLnBrk="0" fontAlgn="base" hangingPunct="0">
                <a:spcBef>
                  <a:spcPct val="0"/>
                </a:spcBef>
                <a:spcAft>
                  <a:spcPts val="1067"/>
                </a:spcAft>
                <a:defRPr/>
              </a:pP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Customers value DHL for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“getting it done”</a:t>
              </a:r>
            </a:p>
          </p:txBody>
        </p:sp>
        <p:sp>
          <p:nvSpPr>
            <p:cNvPr id="101" name="Pentagon 100"/>
            <p:cNvSpPr/>
            <p:nvPr/>
          </p:nvSpPr>
          <p:spPr bwMode="auto">
            <a:xfrm>
              <a:off x="413999" y="1871733"/>
              <a:ext cx="4061164" cy="287383"/>
            </a:xfrm>
            <a:prstGeom prst="homePlate">
              <a:avLst>
                <a:gd name="adj" fmla="val 0"/>
              </a:avLst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000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67" dirty="0">
                  <a:solidFill>
                    <a:prstClr val="black"/>
                  </a:solidFill>
                  <a:latin typeface="Delivery" panose="020F0503020204020204" pitchFamily="34" charset="0"/>
                </a:rPr>
                <a:t>The past</a:t>
              </a:r>
            </a:p>
          </p:txBody>
        </p:sp>
        <p:sp>
          <p:nvSpPr>
            <p:cNvPr id="102" name="Rectangle 101"/>
            <p:cNvSpPr/>
            <p:nvPr/>
          </p:nvSpPr>
          <p:spPr bwMode="auto">
            <a:xfrm>
              <a:off x="511758" y="3689757"/>
              <a:ext cx="957211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Locus</a:t>
              </a:r>
            </a:p>
          </p:txBody>
        </p:sp>
        <p:sp>
          <p:nvSpPr>
            <p:cNvPr id="103" name="Rectangle 102"/>
            <p:cNvSpPr/>
            <p:nvPr/>
          </p:nvSpPr>
          <p:spPr bwMode="auto">
            <a:xfrm>
              <a:off x="511758" y="3985104"/>
              <a:ext cx="957211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6 River Systems</a:t>
              </a:r>
            </a:p>
          </p:txBody>
        </p:sp>
        <p:sp>
          <p:nvSpPr>
            <p:cNvPr id="104" name="Rectangle 103"/>
            <p:cNvSpPr/>
            <p:nvPr/>
          </p:nvSpPr>
          <p:spPr bwMode="auto">
            <a:xfrm>
              <a:off x="511758" y="4280451"/>
              <a:ext cx="957211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 err="1">
                  <a:solidFill>
                    <a:prstClr val="black"/>
                  </a:solidFill>
                  <a:latin typeface="Delivery" panose="020F0503020204020204" pitchFamily="34" charset="0"/>
                </a:rPr>
                <a:t>Rocla</a:t>
              </a:r>
              <a:endParaRPr lang="en-US" sz="1333" dirty="0">
                <a:solidFill>
                  <a:prstClr val="black"/>
                </a:solidFill>
                <a:latin typeface="Delivery" panose="020F0503020204020204" pitchFamily="34" charset="0"/>
              </a:endParaRPr>
            </a:p>
          </p:txBody>
        </p:sp>
        <p:sp>
          <p:nvSpPr>
            <p:cNvPr id="105" name="Rectangle 104"/>
            <p:cNvSpPr/>
            <p:nvPr/>
          </p:nvSpPr>
          <p:spPr bwMode="auto">
            <a:xfrm>
              <a:off x="511758" y="4575798"/>
              <a:ext cx="957211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Geek+</a:t>
              </a:r>
            </a:p>
          </p:txBody>
        </p:sp>
        <p:sp>
          <p:nvSpPr>
            <p:cNvPr id="106" name="Rectangle 105"/>
            <p:cNvSpPr/>
            <p:nvPr/>
          </p:nvSpPr>
          <p:spPr bwMode="auto">
            <a:xfrm>
              <a:off x="511758" y="4871145"/>
              <a:ext cx="957211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ASRS</a:t>
              </a:r>
            </a:p>
          </p:txBody>
        </p:sp>
        <p:sp>
          <p:nvSpPr>
            <p:cNvPr id="107" name="Rectangle 106"/>
            <p:cNvSpPr/>
            <p:nvPr/>
          </p:nvSpPr>
          <p:spPr bwMode="auto">
            <a:xfrm>
              <a:off x="511758" y="5166493"/>
              <a:ext cx="957211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i="1" dirty="0">
                  <a:solidFill>
                    <a:prstClr val="black"/>
                  </a:solidFill>
                  <a:latin typeface="Delivery" panose="020F0503020204020204" pitchFamily="34" charset="0"/>
                </a:rPr>
                <a:t>other</a:t>
              </a:r>
            </a:p>
          </p:txBody>
        </p:sp>
        <p:sp>
          <p:nvSpPr>
            <p:cNvPr id="108" name="Rectangle 107"/>
            <p:cNvSpPr/>
            <p:nvPr/>
          </p:nvSpPr>
          <p:spPr bwMode="auto">
            <a:xfrm>
              <a:off x="3454554" y="3689757"/>
              <a:ext cx="960120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Site 1</a:t>
              </a:r>
            </a:p>
          </p:txBody>
        </p:sp>
        <p:sp>
          <p:nvSpPr>
            <p:cNvPr id="109" name="Rectangle 108"/>
            <p:cNvSpPr/>
            <p:nvPr/>
          </p:nvSpPr>
          <p:spPr bwMode="auto">
            <a:xfrm>
              <a:off x="3454554" y="3985104"/>
              <a:ext cx="960120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Site 2</a:t>
              </a:r>
            </a:p>
          </p:txBody>
        </p:sp>
        <p:sp>
          <p:nvSpPr>
            <p:cNvPr id="110" name="Rectangle 109"/>
            <p:cNvSpPr/>
            <p:nvPr/>
          </p:nvSpPr>
          <p:spPr bwMode="auto">
            <a:xfrm>
              <a:off x="3454554" y="4280451"/>
              <a:ext cx="960120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Site 3</a:t>
              </a:r>
            </a:p>
          </p:txBody>
        </p:sp>
        <p:sp>
          <p:nvSpPr>
            <p:cNvPr id="111" name="Rectangle 110"/>
            <p:cNvSpPr/>
            <p:nvPr/>
          </p:nvSpPr>
          <p:spPr bwMode="auto">
            <a:xfrm>
              <a:off x="3454554" y="4575798"/>
              <a:ext cx="960120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Site 4</a:t>
              </a:r>
            </a:p>
          </p:txBody>
        </p:sp>
        <p:sp>
          <p:nvSpPr>
            <p:cNvPr id="112" name="Rectangle 111"/>
            <p:cNvSpPr/>
            <p:nvPr/>
          </p:nvSpPr>
          <p:spPr bwMode="auto">
            <a:xfrm>
              <a:off x="3454554" y="4871145"/>
              <a:ext cx="960120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Site 5</a:t>
              </a:r>
            </a:p>
          </p:txBody>
        </p:sp>
        <p:sp>
          <p:nvSpPr>
            <p:cNvPr id="113" name="Rectangle 112"/>
            <p:cNvSpPr/>
            <p:nvPr/>
          </p:nvSpPr>
          <p:spPr bwMode="auto">
            <a:xfrm>
              <a:off x="3454554" y="5166493"/>
              <a:ext cx="960120" cy="257987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i="1" dirty="0">
                  <a:solidFill>
                    <a:prstClr val="black"/>
                  </a:solidFill>
                  <a:latin typeface="Delivery" panose="020F0503020204020204" pitchFamily="34" charset="0"/>
                </a:rPr>
                <a:t>Other sites</a:t>
              </a:r>
            </a:p>
          </p:txBody>
        </p:sp>
        <p:cxnSp>
          <p:nvCxnSpPr>
            <p:cNvPr id="114" name="Straight Connector 113"/>
            <p:cNvCxnSpPr>
              <a:stCxn id="102" idx="3"/>
              <a:endCxn id="108" idx="1"/>
            </p:cNvCxnSpPr>
            <p:nvPr/>
          </p:nvCxnSpPr>
          <p:spPr bwMode="auto">
            <a:xfrm>
              <a:off x="1468969" y="3818749"/>
              <a:ext cx="1985587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5" name="Straight Connector 114"/>
            <p:cNvCxnSpPr>
              <a:stCxn id="103" idx="3"/>
              <a:endCxn id="109" idx="1"/>
            </p:cNvCxnSpPr>
            <p:nvPr/>
          </p:nvCxnSpPr>
          <p:spPr bwMode="auto">
            <a:xfrm>
              <a:off x="1468969" y="4114096"/>
              <a:ext cx="1985587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6" name="Straight Connector 115"/>
            <p:cNvCxnSpPr>
              <a:stCxn id="104" idx="3"/>
              <a:endCxn id="110" idx="1"/>
            </p:cNvCxnSpPr>
            <p:nvPr/>
          </p:nvCxnSpPr>
          <p:spPr bwMode="auto">
            <a:xfrm>
              <a:off x="1468969" y="4409443"/>
              <a:ext cx="1985587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7" name="Straight Connector 116"/>
            <p:cNvCxnSpPr>
              <a:stCxn id="105" idx="3"/>
              <a:endCxn id="111" idx="1"/>
            </p:cNvCxnSpPr>
            <p:nvPr/>
          </p:nvCxnSpPr>
          <p:spPr bwMode="auto">
            <a:xfrm>
              <a:off x="1468969" y="4704790"/>
              <a:ext cx="1985587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8" name="Straight Connector 117"/>
            <p:cNvCxnSpPr>
              <a:stCxn id="106" idx="3"/>
              <a:endCxn id="112" idx="1"/>
            </p:cNvCxnSpPr>
            <p:nvPr/>
          </p:nvCxnSpPr>
          <p:spPr bwMode="auto">
            <a:xfrm>
              <a:off x="1468969" y="5000137"/>
              <a:ext cx="1985587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9" name="Straight Connector 118"/>
            <p:cNvCxnSpPr>
              <a:stCxn id="107" idx="3"/>
              <a:endCxn id="113" idx="1"/>
            </p:cNvCxnSpPr>
            <p:nvPr/>
          </p:nvCxnSpPr>
          <p:spPr bwMode="auto">
            <a:xfrm>
              <a:off x="1468969" y="5295485"/>
              <a:ext cx="1985587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20" name="Straight Connector 119"/>
            <p:cNvCxnSpPr>
              <a:stCxn id="107" idx="3"/>
              <a:endCxn id="112" idx="1"/>
            </p:cNvCxnSpPr>
            <p:nvPr/>
          </p:nvCxnSpPr>
          <p:spPr bwMode="auto">
            <a:xfrm flipV="1">
              <a:off x="1468969" y="5000137"/>
              <a:ext cx="1985587" cy="295348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21" name="Straight Connector 120"/>
            <p:cNvCxnSpPr>
              <a:stCxn id="107" idx="3"/>
              <a:endCxn id="111" idx="1"/>
            </p:cNvCxnSpPr>
            <p:nvPr/>
          </p:nvCxnSpPr>
          <p:spPr bwMode="auto">
            <a:xfrm flipV="1">
              <a:off x="1468969" y="4704792"/>
              <a:ext cx="1985587" cy="59069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22" name="Straight Connector 121"/>
            <p:cNvCxnSpPr>
              <a:stCxn id="107" idx="3"/>
              <a:endCxn id="110" idx="1"/>
            </p:cNvCxnSpPr>
            <p:nvPr/>
          </p:nvCxnSpPr>
          <p:spPr bwMode="auto">
            <a:xfrm flipV="1">
              <a:off x="1468969" y="4409443"/>
              <a:ext cx="1985587" cy="886042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23" name="Straight Connector 122"/>
            <p:cNvCxnSpPr>
              <a:stCxn id="107" idx="3"/>
              <a:endCxn id="109" idx="1"/>
            </p:cNvCxnSpPr>
            <p:nvPr/>
          </p:nvCxnSpPr>
          <p:spPr bwMode="auto">
            <a:xfrm flipV="1">
              <a:off x="1468969" y="4114098"/>
              <a:ext cx="1985587" cy="1181389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24" name="Straight Connector 123"/>
            <p:cNvCxnSpPr>
              <a:stCxn id="107" idx="3"/>
              <a:endCxn id="108" idx="1"/>
            </p:cNvCxnSpPr>
            <p:nvPr/>
          </p:nvCxnSpPr>
          <p:spPr bwMode="auto">
            <a:xfrm flipV="1">
              <a:off x="1468969" y="3818749"/>
              <a:ext cx="1985587" cy="1476736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25" name="Straight Connector 124"/>
            <p:cNvCxnSpPr>
              <a:stCxn id="106" idx="3"/>
              <a:endCxn id="108" idx="1"/>
            </p:cNvCxnSpPr>
            <p:nvPr/>
          </p:nvCxnSpPr>
          <p:spPr bwMode="auto">
            <a:xfrm flipV="1">
              <a:off x="1468969" y="3818749"/>
              <a:ext cx="1985587" cy="1181388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26" name="Straight Connector 125"/>
            <p:cNvCxnSpPr>
              <a:stCxn id="106" idx="3"/>
              <a:endCxn id="109" idx="1"/>
            </p:cNvCxnSpPr>
            <p:nvPr/>
          </p:nvCxnSpPr>
          <p:spPr bwMode="auto">
            <a:xfrm flipV="1">
              <a:off x="1468969" y="4114098"/>
              <a:ext cx="1985587" cy="88604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27" name="Straight Connector 126"/>
            <p:cNvCxnSpPr>
              <a:stCxn id="106" idx="3"/>
              <a:endCxn id="110" idx="1"/>
            </p:cNvCxnSpPr>
            <p:nvPr/>
          </p:nvCxnSpPr>
          <p:spPr bwMode="auto">
            <a:xfrm flipV="1">
              <a:off x="1468969" y="4409443"/>
              <a:ext cx="1985587" cy="59069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28" name="Straight Connector 127"/>
            <p:cNvCxnSpPr>
              <a:stCxn id="106" idx="3"/>
              <a:endCxn id="111" idx="1"/>
            </p:cNvCxnSpPr>
            <p:nvPr/>
          </p:nvCxnSpPr>
          <p:spPr bwMode="auto">
            <a:xfrm flipV="1">
              <a:off x="1468969" y="4704792"/>
              <a:ext cx="1985587" cy="295347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29" name="Straight Connector 128"/>
            <p:cNvCxnSpPr>
              <a:stCxn id="105" idx="3"/>
              <a:endCxn id="113" idx="1"/>
            </p:cNvCxnSpPr>
            <p:nvPr/>
          </p:nvCxnSpPr>
          <p:spPr bwMode="auto">
            <a:xfrm>
              <a:off x="1468969" y="4704792"/>
              <a:ext cx="1985587" cy="590695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30" name="Straight Connector 129"/>
            <p:cNvCxnSpPr>
              <a:stCxn id="105" idx="3"/>
              <a:endCxn id="112" idx="1"/>
            </p:cNvCxnSpPr>
            <p:nvPr/>
          </p:nvCxnSpPr>
          <p:spPr bwMode="auto">
            <a:xfrm>
              <a:off x="1468969" y="4704792"/>
              <a:ext cx="1985587" cy="295347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31" name="Straight Connector 130"/>
            <p:cNvCxnSpPr>
              <a:stCxn id="104" idx="3"/>
              <a:endCxn id="112" idx="1"/>
            </p:cNvCxnSpPr>
            <p:nvPr/>
          </p:nvCxnSpPr>
          <p:spPr bwMode="auto">
            <a:xfrm>
              <a:off x="1468969" y="4409443"/>
              <a:ext cx="1985587" cy="59069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32" name="Straight Connector 131"/>
            <p:cNvCxnSpPr>
              <a:stCxn id="103" idx="3"/>
              <a:endCxn id="112" idx="1"/>
            </p:cNvCxnSpPr>
            <p:nvPr/>
          </p:nvCxnSpPr>
          <p:spPr bwMode="auto">
            <a:xfrm>
              <a:off x="1468969" y="4114098"/>
              <a:ext cx="1985587" cy="88604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33" name="Straight Connector 132"/>
            <p:cNvCxnSpPr>
              <a:stCxn id="102" idx="3"/>
              <a:endCxn id="112" idx="1"/>
            </p:cNvCxnSpPr>
            <p:nvPr/>
          </p:nvCxnSpPr>
          <p:spPr bwMode="auto">
            <a:xfrm>
              <a:off x="1468969" y="3818749"/>
              <a:ext cx="1985587" cy="1181388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34" name="Straight Connector 133"/>
            <p:cNvCxnSpPr>
              <a:stCxn id="102" idx="3"/>
              <a:endCxn id="109" idx="1"/>
            </p:cNvCxnSpPr>
            <p:nvPr/>
          </p:nvCxnSpPr>
          <p:spPr bwMode="auto">
            <a:xfrm>
              <a:off x="1468969" y="3818751"/>
              <a:ext cx="1985587" cy="295347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35" name="Straight Connector 134"/>
            <p:cNvCxnSpPr>
              <a:stCxn id="103" idx="3"/>
              <a:endCxn id="110" idx="1"/>
            </p:cNvCxnSpPr>
            <p:nvPr/>
          </p:nvCxnSpPr>
          <p:spPr bwMode="auto">
            <a:xfrm>
              <a:off x="1468969" y="4114098"/>
              <a:ext cx="1985587" cy="295347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36" name="Straight Connector 135"/>
            <p:cNvCxnSpPr>
              <a:stCxn id="102" idx="3"/>
              <a:endCxn id="110" idx="1"/>
            </p:cNvCxnSpPr>
            <p:nvPr/>
          </p:nvCxnSpPr>
          <p:spPr bwMode="auto">
            <a:xfrm>
              <a:off x="1468969" y="3818749"/>
              <a:ext cx="1985587" cy="59069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37" name="Straight Connector 136"/>
            <p:cNvCxnSpPr>
              <a:stCxn id="102" idx="3"/>
              <a:endCxn id="111" idx="1"/>
            </p:cNvCxnSpPr>
            <p:nvPr/>
          </p:nvCxnSpPr>
          <p:spPr bwMode="auto">
            <a:xfrm>
              <a:off x="1468969" y="3818751"/>
              <a:ext cx="1985587" cy="88604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38" name="Straight Connector 137"/>
            <p:cNvCxnSpPr>
              <a:stCxn id="102" idx="3"/>
              <a:endCxn id="113" idx="1"/>
            </p:cNvCxnSpPr>
            <p:nvPr/>
          </p:nvCxnSpPr>
          <p:spPr bwMode="auto">
            <a:xfrm>
              <a:off x="1468969" y="3818749"/>
              <a:ext cx="1985587" cy="1476736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39" name="Straight Connector 138"/>
            <p:cNvCxnSpPr>
              <a:stCxn id="103" idx="3"/>
              <a:endCxn id="108" idx="1"/>
            </p:cNvCxnSpPr>
            <p:nvPr/>
          </p:nvCxnSpPr>
          <p:spPr bwMode="auto">
            <a:xfrm flipV="1">
              <a:off x="1468969" y="3818751"/>
              <a:ext cx="1985587" cy="295347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0" name="Straight Connector 139"/>
            <p:cNvCxnSpPr>
              <a:stCxn id="105" idx="3"/>
              <a:endCxn id="108" idx="1"/>
            </p:cNvCxnSpPr>
            <p:nvPr/>
          </p:nvCxnSpPr>
          <p:spPr bwMode="auto">
            <a:xfrm flipV="1">
              <a:off x="1468969" y="3818751"/>
              <a:ext cx="1985587" cy="886041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1" name="Straight Connector 140"/>
            <p:cNvCxnSpPr>
              <a:stCxn id="104" idx="3"/>
              <a:endCxn id="108" idx="1"/>
            </p:cNvCxnSpPr>
            <p:nvPr/>
          </p:nvCxnSpPr>
          <p:spPr bwMode="auto">
            <a:xfrm flipV="1">
              <a:off x="1468969" y="3818749"/>
              <a:ext cx="1985587" cy="59069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grpSp>
        <p:nvGrpSpPr>
          <p:cNvPr id="6" name="Group 5"/>
          <p:cNvGrpSpPr/>
          <p:nvPr/>
        </p:nvGrpSpPr>
        <p:grpSpPr>
          <a:xfrm>
            <a:off x="6208185" y="1550086"/>
            <a:ext cx="5456999" cy="4700885"/>
            <a:chOff x="4656138" y="1150938"/>
            <a:chExt cx="4092749" cy="3525664"/>
          </a:xfrm>
        </p:grpSpPr>
        <p:sp>
          <p:nvSpPr>
            <p:cNvPr id="52" name="Pentagon 51"/>
            <p:cNvSpPr/>
            <p:nvPr/>
          </p:nvSpPr>
          <p:spPr bwMode="auto">
            <a:xfrm>
              <a:off x="4656138" y="1150938"/>
              <a:ext cx="4092749" cy="273000"/>
            </a:xfrm>
            <a:prstGeom prst="homePlate">
              <a:avLst>
                <a:gd name="adj" fmla="val 0"/>
              </a:avLst>
            </a:prstGeom>
            <a:solidFill>
              <a:schemeClr val="accent3"/>
            </a:solidFill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000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67" dirty="0">
                  <a:solidFill>
                    <a:prstClr val="black"/>
                  </a:solidFill>
                  <a:latin typeface="Delivery" panose="020F0503020204020204" pitchFamily="34" charset="0"/>
                </a:rPr>
                <a:t>The </a:t>
              </a:r>
              <a:r>
                <a:rPr lang="en-US" sz="1467" dirty="0">
                  <a:solidFill>
                    <a:prstClr val="black"/>
                  </a:solidFill>
                  <a:latin typeface="Delivery" panose="020F0503020204020204" pitchFamily="34" charset="0"/>
                </a:rPr>
                <a:t>present</a:t>
              </a:r>
              <a:endParaRPr lang="en-US" sz="1467" dirty="0">
                <a:solidFill>
                  <a:prstClr val="black"/>
                </a:solidFill>
                <a:latin typeface="Delivery" panose="020F0503020204020204" pitchFamily="34" charset="0"/>
              </a:endParaRPr>
            </a:p>
          </p:txBody>
        </p:sp>
        <p:sp>
          <p:nvSpPr>
            <p:cNvPr id="53" name="Rechteck 29"/>
            <p:cNvSpPr/>
            <p:nvPr/>
          </p:nvSpPr>
          <p:spPr bwMode="gray">
            <a:xfrm>
              <a:off x="4656138" y="1437784"/>
              <a:ext cx="4092749" cy="3238818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44000" tIns="144000" rIns="144000" bIns="144000" numCol="1" rtlCol="0" anchor="t" anchorCtr="0" compatLnSpc="1">
              <a:prstTxWarp prst="textNoShape">
                <a:avLst/>
              </a:prstTxWarp>
            </a:bodyPr>
            <a:lstStyle/>
            <a:p>
              <a:pPr defTabSz="1769401" eaLnBrk="0" fontAlgn="base" hangingPunct="0">
                <a:spcBef>
                  <a:spcPct val="0"/>
                </a:spcBef>
                <a:spcAft>
                  <a:spcPts val="1067"/>
                </a:spcAft>
                <a:defRPr/>
              </a:pP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Swift connection </a:t>
              </a: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of all productive assets and resources to  our systems –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plug and play</a:t>
              </a: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 (platform)</a:t>
              </a:r>
            </a:p>
            <a:p>
              <a:pPr defTabSz="1769401" eaLnBrk="0" fontAlgn="base" hangingPunct="0">
                <a:spcBef>
                  <a:spcPct val="0"/>
                </a:spcBef>
                <a:spcAft>
                  <a:spcPts val="1067"/>
                </a:spcAft>
                <a:defRPr/>
              </a:pP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Every project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re-uses </a:t>
              </a: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available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components</a:t>
              </a:r>
            </a:p>
            <a:p>
              <a:pPr defTabSz="1769401" eaLnBrk="0" fontAlgn="base" hangingPunct="0">
                <a:spcBef>
                  <a:spcPct val="0"/>
                </a:spcBef>
                <a:spcAft>
                  <a:spcPts val="1067"/>
                </a:spcAft>
                <a:defRPr/>
              </a:pP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Individual integration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complexity</a:t>
              </a: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 and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cost </a:t>
              </a: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are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low</a:t>
              </a:r>
            </a:p>
            <a:p>
              <a:pPr defTabSz="1769401" eaLnBrk="0" fontAlgn="base" hangingPunct="0">
                <a:spcBef>
                  <a:spcPct val="0"/>
                </a:spcBef>
                <a:spcAft>
                  <a:spcPts val="1067"/>
                </a:spcAft>
                <a:defRPr/>
              </a:pP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Customers value DHL for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clear advice </a:t>
              </a: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on best fitting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robotic</a:t>
              </a: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 and/or </a:t>
              </a:r>
              <a:r>
                <a:rPr lang="en-US" sz="1467" b="1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automation</a:t>
              </a:r>
              <a:r>
                <a:rPr lang="en-US" sz="1467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 solution (cost, quality, time)</a:t>
              </a:r>
            </a:p>
          </p:txBody>
        </p:sp>
      </p:grpSp>
      <p:sp>
        <p:nvSpPr>
          <p:cNvPr id="54" name="Rectangle 53"/>
          <p:cNvSpPr/>
          <p:nvPr/>
        </p:nvSpPr>
        <p:spPr bwMode="auto">
          <a:xfrm>
            <a:off x="6368168" y="3837299"/>
            <a:ext cx="1276281" cy="32676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</a:rPr>
              <a:t>Locus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6368168" y="4211387"/>
            <a:ext cx="1276281" cy="32676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</a:rPr>
              <a:t>6 River Systems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6368168" y="4585474"/>
            <a:ext cx="1276281" cy="32676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 err="1">
                <a:solidFill>
                  <a:prstClr val="black"/>
                </a:solidFill>
                <a:latin typeface="Delivery" panose="020F0503020204020204" pitchFamily="34" charset="0"/>
              </a:rPr>
              <a:t>Rocla</a:t>
            </a:r>
            <a:endParaRPr lang="en-US" sz="1333" dirty="0">
              <a:solidFill>
                <a:prstClr val="black"/>
              </a:solidFill>
              <a:latin typeface="Delivery" panose="020F0503020204020204" pitchFamily="34" charset="0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6368168" y="4959562"/>
            <a:ext cx="1276281" cy="32676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</a:rPr>
              <a:t>Geek+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6368168" y="5333649"/>
            <a:ext cx="1276281" cy="32676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</a:rPr>
              <a:t>ASRS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6368168" y="5707738"/>
            <a:ext cx="1276281" cy="32676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i="1" dirty="0">
                <a:solidFill>
                  <a:prstClr val="black"/>
                </a:solidFill>
                <a:latin typeface="Delivery" panose="020F0503020204020204" pitchFamily="34" charset="0"/>
              </a:rPr>
              <a:t>other</a:t>
            </a:r>
          </a:p>
        </p:txBody>
      </p:sp>
      <p:sp>
        <p:nvSpPr>
          <p:cNvPr id="61" name="Rectangle 60"/>
          <p:cNvSpPr/>
          <p:nvPr/>
        </p:nvSpPr>
        <p:spPr bwMode="auto">
          <a:xfrm rot="16200000">
            <a:off x="7051950" y="4763911"/>
            <a:ext cx="2197205" cy="343983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</a:rPr>
              <a:t>Robotics hub</a:t>
            </a:r>
          </a:p>
        </p:txBody>
      </p:sp>
      <p:cxnSp>
        <p:nvCxnSpPr>
          <p:cNvPr id="62" name="Straight Connector 61"/>
          <p:cNvCxnSpPr>
            <a:stCxn id="54" idx="3"/>
            <a:endCxn id="61" idx="0"/>
          </p:cNvCxnSpPr>
          <p:nvPr/>
        </p:nvCxnSpPr>
        <p:spPr bwMode="auto">
          <a:xfrm>
            <a:off x="7644449" y="4000684"/>
            <a:ext cx="334113" cy="935217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3" name="Straight Connector 62"/>
          <p:cNvCxnSpPr>
            <a:stCxn id="55" idx="3"/>
            <a:endCxn id="61" idx="0"/>
          </p:cNvCxnSpPr>
          <p:nvPr/>
        </p:nvCxnSpPr>
        <p:spPr bwMode="auto">
          <a:xfrm>
            <a:off x="7644449" y="4374768"/>
            <a:ext cx="334113" cy="561131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4" name="Straight Connector 63"/>
          <p:cNvCxnSpPr>
            <a:stCxn id="57" idx="3"/>
            <a:endCxn id="61" idx="0"/>
          </p:cNvCxnSpPr>
          <p:nvPr/>
        </p:nvCxnSpPr>
        <p:spPr bwMode="auto">
          <a:xfrm flipV="1">
            <a:off x="7644449" y="4935899"/>
            <a:ext cx="334113" cy="187044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5" name="Straight Connector 64"/>
          <p:cNvCxnSpPr>
            <a:stCxn id="56" idx="3"/>
            <a:endCxn id="61" idx="0"/>
          </p:cNvCxnSpPr>
          <p:nvPr/>
        </p:nvCxnSpPr>
        <p:spPr bwMode="auto">
          <a:xfrm>
            <a:off x="7644449" y="4748857"/>
            <a:ext cx="334113" cy="187043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6" name="Straight Connector 65"/>
          <p:cNvCxnSpPr>
            <a:stCxn id="58" idx="3"/>
            <a:endCxn id="61" idx="0"/>
          </p:cNvCxnSpPr>
          <p:nvPr/>
        </p:nvCxnSpPr>
        <p:spPr bwMode="auto">
          <a:xfrm flipV="1">
            <a:off x="7644449" y="4935902"/>
            <a:ext cx="334113" cy="561132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7" name="Straight Connector 66"/>
          <p:cNvCxnSpPr>
            <a:stCxn id="59" idx="3"/>
            <a:endCxn id="61" idx="0"/>
          </p:cNvCxnSpPr>
          <p:nvPr/>
        </p:nvCxnSpPr>
        <p:spPr bwMode="auto">
          <a:xfrm flipV="1">
            <a:off x="7644449" y="4935902"/>
            <a:ext cx="334113" cy="93522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8" name="Straight Connector 67"/>
          <p:cNvCxnSpPr>
            <a:stCxn id="61" idx="2"/>
            <a:endCxn id="88" idx="1"/>
          </p:cNvCxnSpPr>
          <p:nvPr/>
        </p:nvCxnSpPr>
        <p:spPr bwMode="auto">
          <a:xfrm flipV="1">
            <a:off x="8322544" y="4455091"/>
            <a:ext cx="333597" cy="480812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9" name="Straight Connector 68"/>
          <p:cNvCxnSpPr>
            <a:stCxn id="61" idx="2"/>
            <a:endCxn id="99" idx="1"/>
          </p:cNvCxnSpPr>
          <p:nvPr/>
        </p:nvCxnSpPr>
        <p:spPr bwMode="auto">
          <a:xfrm flipV="1">
            <a:off x="8322544" y="4935266"/>
            <a:ext cx="334112" cy="637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0" name="Straight Connector 69"/>
          <p:cNvCxnSpPr>
            <a:stCxn id="61" idx="2"/>
            <a:endCxn id="93" idx="1"/>
          </p:cNvCxnSpPr>
          <p:nvPr/>
        </p:nvCxnSpPr>
        <p:spPr bwMode="auto">
          <a:xfrm>
            <a:off x="8322544" y="4935904"/>
            <a:ext cx="334112" cy="460809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94" name="Rectangle 93"/>
          <p:cNvSpPr/>
          <p:nvPr/>
        </p:nvSpPr>
        <p:spPr bwMode="auto">
          <a:xfrm>
            <a:off x="9760294" y="4739512"/>
            <a:ext cx="1785733" cy="40486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33" dirty="0">
              <a:solidFill>
                <a:prstClr val="black"/>
              </a:solidFill>
              <a:latin typeface="Delivery" panose="020F0503020204020204" pitchFamily="34" charset="0"/>
            </a:endParaRPr>
          </a:p>
        </p:txBody>
      </p:sp>
      <p:sp>
        <p:nvSpPr>
          <p:cNvPr id="96" name="Rectangle 95"/>
          <p:cNvSpPr/>
          <p:nvPr/>
        </p:nvSpPr>
        <p:spPr bwMode="auto">
          <a:xfrm>
            <a:off x="9852186" y="4768055"/>
            <a:ext cx="517244" cy="32636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</a:rPr>
              <a:t>Site 3</a:t>
            </a:r>
          </a:p>
        </p:txBody>
      </p:sp>
      <p:sp>
        <p:nvSpPr>
          <p:cNvPr id="97" name="Rectangle 96"/>
          <p:cNvSpPr/>
          <p:nvPr/>
        </p:nvSpPr>
        <p:spPr bwMode="auto">
          <a:xfrm>
            <a:off x="10427387" y="4768055"/>
            <a:ext cx="517244" cy="32636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</a:rPr>
              <a:t>Site 4</a:t>
            </a:r>
          </a:p>
        </p:txBody>
      </p:sp>
      <p:sp>
        <p:nvSpPr>
          <p:cNvPr id="98" name="Rectangle 97"/>
          <p:cNvSpPr/>
          <p:nvPr/>
        </p:nvSpPr>
        <p:spPr bwMode="auto">
          <a:xfrm>
            <a:off x="11002587" y="4768055"/>
            <a:ext cx="486973" cy="32636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i="1" dirty="0">
                <a:solidFill>
                  <a:prstClr val="black"/>
                </a:solidFill>
                <a:latin typeface="Delivery" panose="020F0503020204020204" pitchFamily="34" charset="0"/>
              </a:rPr>
              <a:t>other</a:t>
            </a:r>
          </a:p>
        </p:txBody>
      </p:sp>
      <p:sp>
        <p:nvSpPr>
          <p:cNvPr id="99" name="Rectangle 98"/>
          <p:cNvSpPr/>
          <p:nvPr/>
        </p:nvSpPr>
        <p:spPr bwMode="auto">
          <a:xfrm>
            <a:off x="8656656" y="4732833"/>
            <a:ext cx="1182051" cy="4048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9953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srgbClr val="000000"/>
                </a:solidFill>
                <a:latin typeface="Delivery" panose="020F0503020204020204" pitchFamily="34" charset="0"/>
              </a:rPr>
              <a:t>Non-strategic DHL</a:t>
            </a:r>
          </a:p>
        </p:txBody>
      </p:sp>
      <p:sp>
        <p:nvSpPr>
          <p:cNvPr id="168" name="Rectangle 167"/>
          <p:cNvSpPr/>
          <p:nvPr/>
        </p:nvSpPr>
        <p:spPr bwMode="auto">
          <a:xfrm>
            <a:off x="9772172" y="5200709"/>
            <a:ext cx="1785733" cy="4041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33" dirty="0">
              <a:solidFill>
                <a:prstClr val="black"/>
              </a:solidFill>
              <a:latin typeface="Delivery" panose="020F0503020204020204" pitchFamily="34" charset="0"/>
            </a:endParaRPr>
          </a:p>
        </p:txBody>
      </p:sp>
      <p:sp>
        <p:nvSpPr>
          <p:cNvPr id="90" name="Rectangle 89"/>
          <p:cNvSpPr/>
          <p:nvPr/>
        </p:nvSpPr>
        <p:spPr bwMode="auto">
          <a:xfrm>
            <a:off x="9852186" y="5229296"/>
            <a:ext cx="517244" cy="326768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</a:rPr>
              <a:t>Site 5</a:t>
            </a:r>
          </a:p>
        </p:txBody>
      </p:sp>
      <p:sp>
        <p:nvSpPr>
          <p:cNvPr id="91" name="Rectangle 90"/>
          <p:cNvSpPr/>
          <p:nvPr/>
        </p:nvSpPr>
        <p:spPr bwMode="auto">
          <a:xfrm>
            <a:off x="10427642" y="5229296"/>
            <a:ext cx="517244" cy="326768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</a:rPr>
              <a:t>Site 6</a:t>
            </a:r>
          </a:p>
        </p:txBody>
      </p:sp>
      <p:sp>
        <p:nvSpPr>
          <p:cNvPr id="92" name="Rectangle 91"/>
          <p:cNvSpPr/>
          <p:nvPr/>
        </p:nvSpPr>
        <p:spPr bwMode="auto">
          <a:xfrm>
            <a:off x="11003098" y="5229296"/>
            <a:ext cx="517244" cy="326768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i="1" dirty="0">
                <a:solidFill>
                  <a:prstClr val="black"/>
                </a:solidFill>
                <a:latin typeface="Delivery" panose="020F0503020204020204" pitchFamily="34" charset="0"/>
              </a:rPr>
              <a:t>other</a:t>
            </a:r>
          </a:p>
        </p:txBody>
      </p:sp>
      <p:sp>
        <p:nvSpPr>
          <p:cNvPr id="93" name="Rectangle 92"/>
          <p:cNvSpPr/>
          <p:nvPr/>
        </p:nvSpPr>
        <p:spPr bwMode="auto">
          <a:xfrm>
            <a:off x="8656656" y="5194030"/>
            <a:ext cx="1182051" cy="4053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768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</a:rPr>
              <a:t>Customer-Owned</a:t>
            </a:r>
          </a:p>
        </p:txBody>
      </p:sp>
      <p:grpSp>
        <p:nvGrpSpPr>
          <p:cNvPr id="253" name="Group 252"/>
          <p:cNvGrpSpPr/>
          <p:nvPr/>
        </p:nvGrpSpPr>
        <p:grpSpPr>
          <a:xfrm>
            <a:off x="8656141" y="4252409"/>
            <a:ext cx="2901755" cy="405364"/>
            <a:chOff x="6492106" y="3189306"/>
            <a:chExt cx="2176316" cy="304023"/>
          </a:xfrm>
        </p:grpSpPr>
        <p:sp>
          <p:nvSpPr>
            <p:cNvPr id="73" name="Rectangle 72"/>
            <p:cNvSpPr/>
            <p:nvPr/>
          </p:nvSpPr>
          <p:spPr bwMode="auto">
            <a:xfrm>
              <a:off x="7311319" y="3189306"/>
              <a:ext cx="1357103" cy="30402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333" dirty="0">
                <a:solidFill>
                  <a:prstClr val="black"/>
                </a:solidFill>
                <a:latin typeface="Delivery" panose="020F0503020204020204" pitchFamily="34" charset="0"/>
              </a:endParaRPr>
            </a:p>
          </p:txBody>
        </p:sp>
        <p:sp>
          <p:nvSpPr>
            <p:cNvPr id="77" name="Rectangle 76"/>
            <p:cNvSpPr/>
            <p:nvPr/>
          </p:nvSpPr>
          <p:spPr bwMode="auto">
            <a:xfrm>
              <a:off x="7389139" y="3218781"/>
              <a:ext cx="387933" cy="245075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Site 1</a:t>
              </a:r>
            </a:p>
          </p:txBody>
        </p:sp>
        <p:sp>
          <p:nvSpPr>
            <p:cNvPr id="78" name="Rectangle 77"/>
            <p:cNvSpPr/>
            <p:nvPr/>
          </p:nvSpPr>
          <p:spPr bwMode="auto">
            <a:xfrm>
              <a:off x="7820540" y="3218781"/>
              <a:ext cx="387933" cy="245075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Site 2</a:t>
              </a:r>
            </a:p>
          </p:txBody>
        </p:sp>
        <p:sp>
          <p:nvSpPr>
            <p:cNvPr id="79" name="Rectangle 78"/>
            <p:cNvSpPr/>
            <p:nvPr/>
          </p:nvSpPr>
          <p:spPr bwMode="auto">
            <a:xfrm>
              <a:off x="8251940" y="3218781"/>
              <a:ext cx="387933" cy="245075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i="1" dirty="0">
                  <a:solidFill>
                    <a:prstClr val="black"/>
                  </a:solidFill>
                  <a:latin typeface="Delivery" panose="020F0503020204020204" pitchFamily="34" charset="0"/>
                </a:rPr>
                <a:t>other</a:t>
              </a:r>
            </a:p>
          </p:txBody>
        </p:sp>
        <p:sp>
          <p:nvSpPr>
            <p:cNvPr id="88" name="Rectangle 87"/>
            <p:cNvSpPr/>
            <p:nvPr/>
          </p:nvSpPr>
          <p:spPr bwMode="auto">
            <a:xfrm>
              <a:off x="6492106" y="3189306"/>
              <a:ext cx="886923" cy="304023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8768" tIns="48000" rIns="48000" bIns="4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32711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</a:rPr>
                <a:t>Strategic DH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567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it for you? Robotics Hub levers will support our functions to smoothly ensure our customers success</a:t>
            </a:r>
          </a:p>
        </p:txBody>
      </p:sp>
      <p:sp>
        <p:nvSpPr>
          <p:cNvPr id="30" name="Textplatzhalter 2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432002" y="1534586"/>
            <a:ext cx="1822985" cy="432017"/>
          </a:xfrm>
          <a:prstGeom prst="rect">
            <a:avLst/>
          </a:prstGeom>
          <a:solidFill>
            <a:schemeClr val="bg2"/>
          </a:solidFill>
          <a:ln w="9525" cmpd="sng">
            <a:noFill/>
            <a:prstDash val="solid"/>
            <a:miter lim="800000"/>
            <a:headEnd/>
            <a:tailEnd/>
          </a:ln>
        </p:spPr>
        <p:txBody>
          <a:bodyPr vert="horz" wrap="square" lIns="96000" tIns="24000" rIns="6096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54">
              <a:spcAft>
                <a:spcPts val="672"/>
              </a:spcAft>
            </a:pPr>
            <a:r>
              <a:rPr lang="en-US" sz="1600" dirty="0">
                <a:solidFill>
                  <a:prstClr val="black"/>
                </a:solidFill>
                <a:latin typeface="Delivery"/>
              </a:rPr>
              <a:t>Function</a:t>
            </a:r>
          </a:p>
        </p:txBody>
      </p:sp>
      <p:sp>
        <p:nvSpPr>
          <p:cNvPr id="31" name="Textplatzhalter 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2372696" y="1534586"/>
            <a:ext cx="4185317" cy="432017"/>
          </a:xfrm>
          <a:prstGeom prst="rect">
            <a:avLst/>
          </a:prstGeom>
          <a:solidFill>
            <a:schemeClr val="bg2"/>
          </a:solidFill>
          <a:ln w="9525" cmpd="sng">
            <a:noFill/>
            <a:prstDash val="solid"/>
            <a:miter lim="800000"/>
            <a:headEnd/>
            <a:tailEnd/>
          </a:ln>
        </p:spPr>
        <p:txBody>
          <a:bodyPr vert="horz" wrap="square" lIns="96000" tIns="24000" rIns="6096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54">
              <a:spcAft>
                <a:spcPts val="672"/>
              </a:spcAft>
            </a:pPr>
            <a:r>
              <a:rPr lang="en-US" sz="1600" dirty="0">
                <a:solidFill>
                  <a:prstClr val="black"/>
                </a:solidFill>
                <a:latin typeface="Delivery"/>
              </a:rPr>
              <a:t>Lever</a:t>
            </a:r>
          </a:p>
        </p:txBody>
      </p:sp>
      <p:sp>
        <p:nvSpPr>
          <p:cNvPr id="32" name="Textplatzhalter 2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675723" y="1534586"/>
            <a:ext cx="5084276" cy="432017"/>
          </a:xfrm>
          <a:prstGeom prst="rect">
            <a:avLst/>
          </a:prstGeom>
          <a:solidFill>
            <a:schemeClr val="bg2"/>
          </a:solidFill>
          <a:ln w="9525" cmpd="sng">
            <a:noFill/>
            <a:prstDash val="solid"/>
            <a:miter lim="800000"/>
            <a:headEnd/>
            <a:tailEnd/>
          </a:ln>
        </p:spPr>
        <p:txBody>
          <a:bodyPr vert="horz" wrap="square" lIns="96000" tIns="24000" rIns="6096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54">
              <a:spcAft>
                <a:spcPts val="672"/>
              </a:spcAft>
            </a:pPr>
            <a:r>
              <a:rPr lang="en-US" sz="1600" dirty="0">
                <a:solidFill>
                  <a:prstClr val="black"/>
                </a:solidFill>
                <a:latin typeface="Delivery"/>
              </a:rPr>
              <a:t>Description</a:t>
            </a:r>
          </a:p>
        </p:txBody>
      </p:sp>
      <p:sp>
        <p:nvSpPr>
          <p:cNvPr id="44" name="Textplatzhalter 15"/>
          <p:cNvSpPr txBox="1">
            <a:spLocks/>
          </p:cNvSpPr>
          <p:nvPr/>
        </p:nvSpPr>
        <p:spPr bwMode="gray">
          <a:xfrm>
            <a:off x="431802" y="2065977"/>
            <a:ext cx="1823185" cy="13185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 lIns="96000" tIns="96000" rIns="96000" bIns="96000" anchor="ctr">
            <a:noAutofit/>
          </a:bodyPr>
          <a:lstStyle>
            <a:defPPr>
              <a:defRPr lang="de-DE"/>
            </a:defPPr>
            <a:lvl1pPr marR="0" indent="0" defTabSz="914378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livery"/>
              </a:defRPr>
            </a:lvl1pPr>
            <a:lvl2pPr marL="18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2pPr>
            <a:lvl3pPr marL="36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3pPr>
            <a:lvl4pPr marL="54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4pPr>
            <a:lvl5pPr marL="0" marR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5pPr>
            <a:lvl6pPr marL="25146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1219140">
              <a:spcAft>
                <a:spcPts val="800"/>
              </a:spcAft>
            </a:pPr>
            <a:r>
              <a:rPr lang="en-US" sz="1600" dirty="0"/>
              <a:t>Opportunity Owner, Project Sponsor and Operations Owner</a:t>
            </a:r>
          </a:p>
        </p:txBody>
      </p:sp>
      <p:sp>
        <p:nvSpPr>
          <p:cNvPr id="45" name="Textplatzhalter 15"/>
          <p:cNvSpPr txBox="1">
            <a:spLocks/>
          </p:cNvSpPr>
          <p:nvPr/>
        </p:nvSpPr>
        <p:spPr bwMode="gray">
          <a:xfrm>
            <a:off x="2372696" y="2065978"/>
            <a:ext cx="4185317" cy="13185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6000" tIns="48000" rIns="96000" bIns="96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54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indent="-228594" defTabSz="121914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  <a:latin typeface="Delivery"/>
              </a:rPr>
              <a:t>Risk and Cost reduction</a:t>
            </a:r>
          </a:p>
          <a:p>
            <a:pPr marL="228594" indent="-228594" defTabSz="121914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  <a:latin typeface="Delivery"/>
              </a:rPr>
              <a:t>Standardization</a:t>
            </a:r>
          </a:p>
          <a:p>
            <a:pPr marL="228594" indent="-228594" defTabSz="121914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  <a:latin typeface="Delivery"/>
              </a:rPr>
              <a:t>Customer Satisfaction</a:t>
            </a:r>
          </a:p>
          <a:p>
            <a:pPr marL="228594" indent="-228594" defTabSz="121914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  <a:latin typeface="Delivery"/>
              </a:rPr>
              <a:t>Faster implementation</a:t>
            </a:r>
          </a:p>
          <a:p>
            <a:pPr marL="228594" indent="-228594" defTabSz="121914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rgbClr val="000000"/>
              </a:solidFill>
              <a:latin typeface="Delivery"/>
            </a:endParaRPr>
          </a:p>
        </p:txBody>
      </p:sp>
      <p:sp>
        <p:nvSpPr>
          <p:cNvPr id="47" name="Textplatzhalter 15"/>
          <p:cNvSpPr txBox="1">
            <a:spLocks/>
          </p:cNvSpPr>
          <p:nvPr/>
        </p:nvSpPr>
        <p:spPr bwMode="gray">
          <a:xfrm>
            <a:off x="6675722" y="2065978"/>
            <a:ext cx="5084479" cy="13185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6000" tIns="96000" rIns="96000" bIns="96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54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40">
              <a:lnSpc>
                <a:spcPct val="100000"/>
              </a:lnSpc>
              <a:spcAft>
                <a:spcPts val="8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Delivery"/>
              </a:rPr>
              <a:t>Re-using standard components and deployment methodology in our start-ups will reduce the risks, costs of integration and duplication of efforts, making our customers successful</a:t>
            </a:r>
          </a:p>
        </p:txBody>
      </p:sp>
      <p:sp>
        <p:nvSpPr>
          <p:cNvPr id="35" name="Textplatzhalter 15"/>
          <p:cNvSpPr txBox="1">
            <a:spLocks/>
          </p:cNvSpPr>
          <p:nvPr/>
        </p:nvSpPr>
        <p:spPr bwMode="gray">
          <a:xfrm>
            <a:off x="431802" y="3483930"/>
            <a:ext cx="1823185" cy="131857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 lIns="96000" tIns="96000" rIns="96000" bIns="96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54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40">
              <a:lnSpc>
                <a:spcPct val="100000"/>
              </a:lnSpc>
              <a:spcAft>
                <a:spcPts val="8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Delivery"/>
              </a:rPr>
              <a:t>Solutions Design</a:t>
            </a:r>
          </a:p>
        </p:txBody>
      </p:sp>
      <p:sp>
        <p:nvSpPr>
          <p:cNvPr id="36" name="Textplatzhalter 15"/>
          <p:cNvSpPr txBox="1">
            <a:spLocks/>
          </p:cNvSpPr>
          <p:nvPr/>
        </p:nvSpPr>
        <p:spPr bwMode="gray">
          <a:xfrm>
            <a:off x="2372696" y="3483930"/>
            <a:ext cx="4185317" cy="1318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6000" tIns="48000" rIns="96000" bIns="96000" anchor="t">
            <a:noAutofit/>
          </a:bodyPr>
          <a:lstStyle>
            <a:defPPr>
              <a:defRPr lang="de-DE"/>
            </a:defPPr>
            <a:lvl1pPr marL="171450" marR="0" indent="-171450" defTabSz="914378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livery"/>
              </a:defRPr>
            </a:lvl1pPr>
            <a:lvl2pPr marL="18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2pPr>
            <a:lvl3pPr marL="36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3pPr>
            <a:lvl4pPr marL="54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4pPr>
            <a:lvl5pPr marL="0" marR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5pPr>
            <a:lvl6pPr marL="25146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28594" indent="-228594" defTabSz="1219140">
              <a:spcAft>
                <a:spcPts val="800"/>
              </a:spcAft>
            </a:pPr>
            <a:r>
              <a:rPr lang="en-US" sz="1600" dirty="0"/>
              <a:t>Standardization</a:t>
            </a:r>
          </a:p>
          <a:p>
            <a:pPr marL="228594" indent="-228594" defTabSz="1219140">
              <a:spcAft>
                <a:spcPts val="800"/>
              </a:spcAft>
            </a:pPr>
            <a:r>
              <a:rPr lang="en-US" sz="1600" dirty="0"/>
              <a:t>Available plug-and-play technologies portfolio</a:t>
            </a:r>
          </a:p>
          <a:p>
            <a:pPr marL="228594" indent="-228594" defTabSz="1219140">
              <a:spcAft>
                <a:spcPts val="800"/>
              </a:spcAft>
            </a:pPr>
            <a:r>
              <a:rPr lang="en-US" sz="1600" dirty="0"/>
              <a:t>Robotic vendor innovation</a:t>
            </a:r>
          </a:p>
        </p:txBody>
      </p:sp>
      <p:sp>
        <p:nvSpPr>
          <p:cNvPr id="38" name="Textplatzhalter 15"/>
          <p:cNvSpPr txBox="1">
            <a:spLocks/>
          </p:cNvSpPr>
          <p:nvPr/>
        </p:nvSpPr>
        <p:spPr bwMode="gray">
          <a:xfrm>
            <a:off x="2372696" y="4901882"/>
            <a:ext cx="4185317" cy="13185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6000" tIns="48000" rIns="96000" bIns="96000" anchor="t">
            <a:noAutofit/>
          </a:bodyPr>
          <a:lstStyle>
            <a:defPPr>
              <a:defRPr lang="de-DE"/>
            </a:defPPr>
            <a:lvl1pPr marL="171450" marR="0" indent="-171450" defTabSz="914378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livery"/>
              </a:defRPr>
            </a:lvl1pPr>
            <a:lvl2pPr marL="18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2pPr>
            <a:lvl3pPr marL="36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3pPr>
            <a:lvl4pPr marL="54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4pPr>
            <a:lvl5pPr marL="0" marR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5pPr>
            <a:lvl6pPr marL="25146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28594" indent="-228594" defTabSz="1219140">
              <a:spcAft>
                <a:spcPts val="800"/>
              </a:spcAft>
            </a:pPr>
            <a:r>
              <a:rPr lang="en-US" sz="1600" dirty="0"/>
              <a:t>Standardization</a:t>
            </a:r>
          </a:p>
          <a:p>
            <a:pPr marL="228594" indent="-228594" defTabSz="1219140">
              <a:spcAft>
                <a:spcPts val="800"/>
              </a:spcAft>
            </a:pPr>
            <a:r>
              <a:rPr lang="en-US" sz="1600" dirty="0"/>
              <a:t>Increased range of supported robots</a:t>
            </a:r>
          </a:p>
          <a:p>
            <a:pPr marL="228594" indent="-228594" defTabSz="1219140">
              <a:spcAft>
                <a:spcPts val="800"/>
              </a:spcAft>
            </a:pPr>
            <a:r>
              <a:rPr lang="en-US" sz="1600" dirty="0"/>
              <a:t>Robotics hub upgrades</a:t>
            </a:r>
          </a:p>
          <a:p>
            <a:pPr marL="228594" indent="-228594" defTabSz="1219140">
              <a:spcAft>
                <a:spcPts val="800"/>
              </a:spcAft>
            </a:pPr>
            <a:endParaRPr lang="en-US" sz="1600" dirty="0"/>
          </a:p>
        </p:txBody>
      </p:sp>
      <p:sp>
        <p:nvSpPr>
          <p:cNvPr id="40" name="Textplatzhalter 15"/>
          <p:cNvSpPr txBox="1">
            <a:spLocks/>
          </p:cNvSpPr>
          <p:nvPr/>
        </p:nvSpPr>
        <p:spPr bwMode="gray">
          <a:xfrm>
            <a:off x="6675722" y="3483930"/>
            <a:ext cx="5084479" cy="13185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6000" tIns="96000" rIns="96000" bIns="96000" anchor="ctr">
            <a:noAutofit/>
          </a:bodyPr>
          <a:lstStyle>
            <a:defPPr>
              <a:defRPr lang="de-DE"/>
            </a:defPPr>
            <a:lvl1pPr marL="171450" marR="0" indent="-171450" defTabSz="914378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livery"/>
              </a:defRPr>
            </a:lvl1pPr>
            <a:lvl2pPr marL="18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2pPr>
            <a:lvl3pPr marL="36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3pPr>
            <a:lvl4pPr marL="54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4pPr>
            <a:lvl5pPr marL="0" marR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5pPr>
            <a:lvl6pPr marL="25146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defTabSz="1219140">
              <a:spcAft>
                <a:spcPts val="800"/>
              </a:spcAft>
              <a:buNone/>
            </a:pPr>
            <a:r>
              <a:rPr lang="en-US" sz="1600" dirty="0"/>
              <a:t>With a pool of plug-and-play technologies available, it will be easier to bring optimal solutions for new and existing business, reducing the efforts and uncertainty of unknown robotic vendors to our customers</a:t>
            </a:r>
          </a:p>
        </p:txBody>
      </p:sp>
      <p:sp>
        <p:nvSpPr>
          <p:cNvPr id="41" name="Textplatzhalter 15"/>
          <p:cNvSpPr txBox="1">
            <a:spLocks/>
          </p:cNvSpPr>
          <p:nvPr/>
        </p:nvSpPr>
        <p:spPr bwMode="gray">
          <a:xfrm>
            <a:off x="6675722" y="4901883"/>
            <a:ext cx="5084479" cy="13401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6000" tIns="96000" rIns="96000" bIns="96000" anchor="ctr">
            <a:noAutofit/>
          </a:bodyPr>
          <a:lstStyle>
            <a:defPPr>
              <a:defRPr lang="de-DE"/>
            </a:defPPr>
            <a:lvl1pPr marL="171450" marR="0" indent="-171450" defTabSz="914378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livery"/>
              </a:defRPr>
            </a:lvl1pPr>
            <a:lvl2pPr marL="18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2pPr>
            <a:lvl3pPr marL="36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3pPr>
            <a:lvl4pPr marL="540000" marR="0" indent="-180000" defTabSz="914400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4pPr>
            <a:lvl5pPr marL="0" marR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sz="1800" b="1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5pPr>
            <a:lvl6pPr marL="25146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 defTabSz="9144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defTabSz="1219140">
              <a:spcAft>
                <a:spcPts val="800"/>
              </a:spcAft>
              <a:buNone/>
            </a:pPr>
            <a:r>
              <a:rPr lang="en-US" sz="1600" dirty="0"/>
              <a:t>With standardized architecture and a increasing portfolio of technologies, the efforts of integration will be reduced to a minimum. In addition, all updates and dashboard functionalities should be available to all robotic hub operations</a:t>
            </a:r>
          </a:p>
        </p:txBody>
      </p:sp>
      <p:sp>
        <p:nvSpPr>
          <p:cNvPr id="49" name="Textplatzhalter 15"/>
          <p:cNvSpPr txBox="1">
            <a:spLocks/>
          </p:cNvSpPr>
          <p:nvPr/>
        </p:nvSpPr>
        <p:spPr bwMode="gray">
          <a:xfrm>
            <a:off x="431801" y="4901883"/>
            <a:ext cx="1823185" cy="131858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wrap="square" lIns="96000" tIns="96000" rIns="96000" bIns="96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54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40">
              <a:lnSpc>
                <a:spcPct val="100000"/>
              </a:lnSpc>
              <a:spcAft>
                <a:spcPts val="8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Delivery"/>
              </a:rPr>
              <a:t>IT</a:t>
            </a:r>
          </a:p>
        </p:txBody>
      </p:sp>
      <p:sp>
        <p:nvSpPr>
          <p:cNvPr id="50" name="Footer Placeholder 4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77"/>
            <a:r>
              <a:rPr lang="en-US">
                <a:solidFill>
                  <a:prstClr val="black"/>
                </a:solidFill>
                <a:latin typeface="Delivery"/>
              </a:rPr>
              <a:t>Robotics Hub Introduction | Accelerated Digitalization | BY CoE | April 2021</a:t>
            </a:r>
            <a:endParaRPr lang="en-US">
              <a:solidFill>
                <a:prstClr val="black"/>
              </a:solidFill>
              <a:latin typeface="Delivery"/>
            </a:endParaRPr>
          </a:p>
        </p:txBody>
      </p:sp>
    </p:spTree>
    <p:extLst>
      <p:ext uri="{BB962C8B-B14F-4D97-AF65-F5344CB8AC3E}">
        <p14:creationId xmlns:p14="http://schemas.microsoft.com/office/powerpoint/2010/main" val="3704985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8" name="Object 8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06"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88" name="Object 8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Rectangle 8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defTabSz="914377">
              <a:spcBef>
                <a:spcPct val="0"/>
              </a:spcBef>
              <a:spcAft>
                <a:spcPct val="0"/>
              </a:spcAft>
            </a:pPr>
            <a:endParaRPr lang="en-US" sz="2400" b="1" err="1">
              <a:solidFill>
                <a:prstClr val="black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defTabSz="914377"/>
            <a:r>
              <a:rPr lang="en-US">
                <a:solidFill>
                  <a:prstClr val="black"/>
                </a:solidFill>
                <a:latin typeface="Delivery"/>
              </a:rPr>
              <a:t>Robotics Hub Introduction | Accelerated Digitalization | BY CoE | April 2021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54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2267337" y="5057422"/>
            <a:ext cx="9492663" cy="118462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96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endParaRPr lang="en-US" altLang="en-US" sz="1333" kern="0">
              <a:solidFill>
                <a:srgbClr val="000000"/>
              </a:solidFill>
              <a:latin typeface="Delivery"/>
            </a:endParaRPr>
          </a:p>
        </p:txBody>
      </p:sp>
      <p:sp>
        <p:nvSpPr>
          <p:cNvPr id="55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432000" y="5057423"/>
            <a:ext cx="1835337" cy="1173605"/>
          </a:xfrm>
          <a:prstGeom prst="rect">
            <a:avLst/>
          </a:prstGeom>
          <a:solidFill>
            <a:schemeClr val="accent3"/>
          </a:solid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b="1" kern="0" dirty="0">
                <a:solidFill>
                  <a:srgbClr val="000000"/>
                </a:solidFill>
                <a:latin typeface="Delivery"/>
              </a:rPr>
              <a:t>DHL Supply Chain Operations</a:t>
            </a:r>
          </a:p>
        </p:txBody>
      </p:sp>
      <p:sp>
        <p:nvSpPr>
          <p:cNvPr id="56" name="Rechteck 16">
            <a:extLst>
              <a:ext uri="{FF2B5EF4-FFF2-40B4-BE49-F238E27FC236}">
                <a16:creationId xmlns:a16="http://schemas.microsoft.com/office/drawing/2014/main" id="{14F9E8C8-51D8-4F4F-9FA9-796EF639AC34}"/>
              </a:ext>
            </a:extLst>
          </p:cNvPr>
          <p:cNvSpPr/>
          <p:nvPr/>
        </p:nvSpPr>
        <p:spPr bwMode="auto">
          <a:xfrm>
            <a:off x="2267335" y="1534585"/>
            <a:ext cx="9492663" cy="3348556"/>
          </a:xfrm>
          <a:prstGeom prst="rect">
            <a:avLst/>
          </a:prstGeom>
          <a:solidFill>
            <a:schemeClr val="accent6">
              <a:lumMod val="90000"/>
              <a:alpha val="50000"/>
            </a:schemeClr>
          </a:solid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960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endParaRPr lang="en-US" altLang="en-US" sz="1333" kern="0">
              <a:solidFill>
                <a:srgbClr val="000000"/>
              </a:solidFill>
              <a:latin typeface="Delivery"/>
            </a:endParaRPr>
          </a:p>
        </p:txBody>
      </p:sp>
      <p:sp>
        <p:nvSpPr>
          <p:cNvPr id="57" name="Rechteck 16">
            <a:extLst>
              <a:ext uri="{FF2B5EF4-FFF2-40B4-BE49-F238E27FC236}">
                <a16:creationId xmlns:a16="http://schemas.microsoft.com/office/drawing/2014/main" id="{D491BF8B-B609-44EC-96CE-D491C0F95175}"/>
              </a:ext>
            </a:extLst>
          </p:cNvPr>
          <p:cNvSpPr/>
          <p:nvPr/>
        </p:nvSpPr>
        <p:spPr bwMode="auto">
          <a:xfrm>
            <a:off x="432000" y="1534585"/>
            <a:ext cx="1835337" cy="3348556"/>
          </a:xfrm>
          <a:prstGeom prst="rect">
            <a:avLst/>
          </a:prstGeom>
          <a:solidFill>
            <a:schemeClr val="accent6">
              <a:lumMod val="90000"/>
            </a:schemeClr>
          </a:solid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b="1" kern="0" dirty="0">
                <a:solidFill>
                  <a:srgbClr val="000000"/>
                </a:solidFill>
                <a:latin typeface="Delivery"/>
              </a:rPr>
              <a:t>Robotics Hub Architecture</a:t>
            </a:r>
          </a:p>
        </p:txBody>
      </p:sp>
      <p:sp>
        <p:nvSpPr>
          <p:cNvPr id="59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8733351" y="5217867"/>
            <a:ext cx="1440000" cy="90546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Warehouse Management System</a:t>
            </a:r>
          </a:p>
        </p:txBody>
      </p:sp>
      <p:sp>
        <p:nvSpPr>
          <p:cNvPr id="62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7367313" y="5217867"/>
            <a:ext cx="1220455" cy="90546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Other robots (to be added)</a:t>
            </a:r>
          </a:p>
        </p:txBody>
      </p:sp>
      <p:sp>
        <p:nvSpPr>
          <p:cNvPr id="64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4850529" y="4103864"/>
            <a:ext cx="4248895" cy="6096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API/Connecto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9FE378A-A86A-4F3F-A5CC-0E1157D6CD91}"/>
              </a:ext>
            </a:extLst>
          </p:cNvPr>
          <p:cNvGrpSpPr/>
          <p:nvPr/>
        </p:nvGrpSpPr>
        <p:grpSpPr>
          <a:xfrm>
            <a:off x="2480729" y="5217867"/>
            <a:ext cx="2318844" cy="905460"/>
            <a:chOff x="3747624" y="3897755"/>
            <a:chExt cx="1985799" cy="679095"/>
          </a:xfrm>
        </p:grpSpPr>
        <p:sp>
          <p:nvSpPr>
            <p:cNvPr id="60" name="Rechteck 16">
              <a:extLst>
                <a:ext uri="{FF2B5EF4-FFF2-40B4-BE49-F238E27FC236}">
                  <a16:creationId xmlns:a16="http://schemas.microsoft.com/office/drawing/2014/main" id="{32D48F74-800C-4B56-BDE2-556B8EC6B3C1}"/>
                </a:ext>
              </a:extLst>
            </p:cNvPr>
            <p:cNvSpPr/>
            <p:nvPr/>
          </p:nvSpPr>
          <p:spPr bwMode="auto">
            <a:xfrm>
              <a:off x="3747624" y="3897755"/>
              <a:ext cx="1985799" cy="679095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31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121920" rIns="121920" bIns="1219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327117" eaLnBrk="0" fontAlgn="base" hangingPunct="0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</a:pPr>
              <a:r>
                <a:rPr lang="en-US" altLang="en-US" sz="1333" kern="0" dirty="0">
                  <a:solidFill>
                    <a:srgbClr val="000000"/>
                  </a:solidFill>
                  <a:latin typeface="Delivery"/>
                </a:rPr>
                <a:t>Assisted Picking robots</a:t>
              </a:r>
            </a:p>
          </p:txBody>
        </p:sp>
        <p:grpSp>
          <p:nvGrpSpPr>
            <p:cNvPr id="69" name="Group 68"/>
            <p:cNvGrpSpPr/>
            <p:nvPr/>
          </p:nvGrpSpPr>
          <p:grpSpPr>
            <a:xfrm>
              <a:off x="3818368" y="4273195"/>
              <a:ext cx="1844310" cy="268375"/>
              <a:chOff x="3672041" y="4226632"/>
              <a:chExt cx="1627598" cy="268375"/>
            </a:xfrm>
          </p:grpSpPr>
          <p:sp>
            <p:nvSpPr>
              <p:cNvPr id="66" name="Rechteck 16">
                <a:extLst>
                  <a:ext uri="{FF2B5EF4-FFF2-40B4-BE49-F238E27FC236}">
                    <a16:creationId xmlns:a16="http://schemas.microsoft.com/office/drawing/2014/main" id="{32D48F74-800C-4B56-BDE2-556B8EC6B3C1}"/>
                  </a:ext>
                </a:extLst>
              </p:cNvPr>
              <p:cNvSpPr/>
              <p:nvPr/>
            </p:nvSpPr>
            <p:spPr bwMode="auto">
              <a:xfrm>
                <a:off x="3672041" y="4226632"/>
                <a:ext cx="518960" cy="268375"/>
              </a:xfrm>
              <a:prstGeom prst="rect">
                <a:avLst/>
              </a:prstGeom>
              <a:pattFill prst="wdUpDiag">
                <a:fgClr>
                  <a:schemeClr val="accent3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317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920" tIns="121920" rIns="121920" bIns="1219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327117" eaLnBrk="0" fontAlgn="base" hangingPunct="0">
                  <a:lnSpc>
                    <a:spcPct val="90000"/>
                  </a:lnSpc>
                  <a:spcBef>
                    <a:spcPts val="800"/>
                  </a:spcBef>
                  <a:spcAft>
                    <a:spcPct val="0"/>
                  </a:spcAft>
                </a:pPr>
                <a:r>
                  <a:rPr lang="en-US" altLang="en-US" sz="1333" kern="0">
                    <a:solidFill>
                      <a:srgbClr val="000000"/>
                    </a:solidFill>
                    <a:latin typeface="Delivery"/>
                  </a:rPr>
                  <a:t>Locus</a:t>
                </a:r>
              </a:p>
            </p:txBody>
          </p:sp>
          <p:sp>
            <p:nvSpPr>
              <p:cNvPr id="67" name="Rechteck 16">
                <a:extLst>
                  <a:ext uri="{FF2B5EF4-FFF2-40B4-BE49-F238E27FC236}">
                    <a16:creationId xmlns:a16="http://schemas.microsoft.com/office/drawing/2014/main" id="{32D48F74-800C-4B56-BDE2-556B8EC6B3C1}"/>
                  </a:ext>
                </a:extLst>
              </p:cNvPr>
              <p:cNvSpPr/>
              <p:nvPr/>
            </p:nvSpPr>
            <p:spPr bwMode="auto">
              <a:xfrm>
                <a:off x="4226360" y="4226632"/>
                <a:ext cx="518960" cy="268375"/>
              </a:xfrm>
              <a:prstGeom prst="rect">
                <a:avLst/>
              </a:prstGeom>
              <a:pattFill prst="wdUpDiag">
                <a:fgClr>
                  <a:schemeClr val="accent3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317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920" tIns="121920" rIns="121920" bIns="1219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327117" eaLnBrk="0" fontAlgn="base" hangingPunct="0">
                  <a:lnSpc>
                    <a:spcPct val="90000"/>
                  </a:lnSpc>
                  <a:spcBef>
                    <a:spcPts val="800"/>
                  </a:spcBef>
                  <a:spcAft>
                    <a:spcPct val="0"/>
                  </a:spcAft>
                </a:pPr>
                <a:r>
                  <a:rPr lang="en-US" altLang="en-US" sz="1333" kern="0">
                    <a:solidFill>
                      <a:srgbClr val="000000"/>
                    </a:solidFill>
                    <a:latin typeface="Delivery"/>
                  </a:rPr>
                  <a:t>6RS</a:t>
                </a:r>
              </a:p>
            </p:txBody>
          </p:sp>
          <p:sp>
            <p:nvSpPr>
              <p:cNvPr id="68" name="Rechteck 16">
                <a:extLst>
                  <a:ext uri="{FF2B5EF4-FFF2-40B4-BE49-F238E27FC236}">
                    <a16:creationId xmlns:a16="http://schemas.microsoft.com/office/drawing/2014/main" id="{32D48F74-800C-4B56-BDE2-556B8EC6B3C1}"/>
                  </a:ext>
                </a:extLst>
              </p:cNvPr>
              <p:cNvSpPr/>
              <p:nvPr/>
            </p:nvSpPr>
            <p:spPr bwMode="auto">
              <a:xfrm>
                <a:off x="4780679" y="4226632"/>
                <a:ext cx="518960" cy="268375"/>
              </a:xfrm>
              <a:prstGeom prst="rect">
                <a:avLst/>
              </a:prstGeom>
              <a:pattFill prst="wdUpDiag">
                <a:fgClr>
                  <a:schemeClr val="accent3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317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920" tIns="121920" rIns="121920" bIns="1219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327117" eaLnBrk="0" fontAlgn="base" hangingPunct="0">
                  <a:lnSpc>
                    <a:spcPct val="90000"/>
                  </a:lnSpc>
                  <a:spcBef>
                    <a:spcPts val="800"/>
                  </a:spcBef>
                  <a:spcAft>
                    <a:spcPct val="0"/>
                  </a:spcAft>
                </a:pPr>
                <a:r>
                  <a:rPr lang="en-US" altLang="en-US" sz="1333" kern="0">
                    <a:solidFill>
                      <a:srgbClr val="000000"/>
                    </a:solidFill>
                    <a:latin typeface="Delivery"/>
                  </a:rPr>
                  <a:t>other</a:t>
                </a: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247BB00-A3FD-4BA5-A330-990A49156BF8}"/>
              </a:ext>
            </a:extLst>
          </p:cNvPr>
          <p:cNvGrpSpPr/>
          <p:nvPr/>
        </p:nvGrpSpPr>
        <p:grpSpPr>
          <a:xfrm>
            <a:off x="4945157" y="5205705"/>
            <a:ext cx="2276571" cy="905460"/>
            <a:chOff x="5874311" y="3897755"/>
            <a:chExt cx="1985799" cy="679095"/>
          </a:xfrm>
        </p:grpSpPr>
        <p:sp>
          <p:nvSpPr>
            <p:cNvPr id="61" name="Rechteck 16">
              <a:extLst>
                <a:ext uri="{FF2B5EF4-FFF2-40B4-BE49-F238E27FC236}">
                  <a16:creationId xmlns:a16="http://schemas.microsoft.com/office/drawing/2014/main" id="{32D48F74-800C-4B56-BDE2-556B8EC6B3C1}"/>
                </a:ext>
              </a:extLst>
            </p:cNvPr>
            <p:cNvSpPr/>
            <p:nvPr/>
          </p:nvSpPr>
          <p:spPr bwMode="auto">
            <a:xfrm>
              <a:off x="5874311" y="3897755"/>
              <a:ext cx="1985799" cy="679095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31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121920" rIns="121920" bIns="1219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327117" eaLnBrk="0" fontAlgn="base" hangingPunct="0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</a:pPr>
              <a:r>
                <a:rPr lang="en-US" altLang="en-US" sz="1333" kern="0" dirty="0">
                  <a:solidFill>
                    <a:srgbClr val="000000"/>
                  </a:solidFill>
                  <a:latin typeface="Delivery"/>
                </a:rPr>
                <a:t>Indoor Robotic Transport robots</a:t>
              </a:r>
            </a:p>
          </p:txBody>
        </p:sp>
        <p:grpSp>
          <p:nvGrpSpPr>
            <p:cNvPr id="70" name="Group 69"/>
            <p:cNvGrpSpPr/>
            <p:nvPr/>
          </p:nvGrpSpPr>
          <p:grpSpPr>
            <a:xfrm>
              <a:off x="5945055" y="4273195"/>
              <a:ext cx="1844310" cy="268375"/>
              <a:chOff x="3672041" y="4226632"/>
              <a:chExt cx="1627598" cy="268375"/>
            </a:xfrm>
          </p:grpSpPr>
          <p:sp>
            <p:nvSpPr>
              <p:cNvPr id="71" name="Rechteck 16">
                <a:extLst>
                  <a:ext uri="{FF2B5EF4-FFF2-40B4-BE49-F238E27FC236}">
                    <a16:creationId xmlns:a16="http://schemas.microsoft.com/office/drawing/2014/main" id="{32D48F74-800C-4B56-BDE2-556B8EC6B3C1}"/>
                  </a:ext>
                </a:extLst>
              </p:cNvPr>
              <p:cNvSpPr/>
              <p:nvPr/>
            </p:nvSpPr>
            <p:spPr bwMode="auto">
              <a:xfrm>
                <a:off x="3672041" y="4226632"/>
                <a:ext cx="518960" cy="268375"/>
              </a:xfrm>
              <a:prstGeom prst="rect">
                <a:avLst/>
              </a:prstGeom>
              <a:pattFill prst="wdUpDiag">
                <a:fgClr>
                  <a:schemeClr val="accent3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317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920" tIns="121920" rIns="121920" bIns="1219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327117" eaLnBrk="0" fontAlgn="base" hangingPunct="0">
                  <a:lnSpc>
                    <a:spcPct val="90000"/>
                  </a:lnSpc>
                  <a:spcBef>
                    <a:spcPts val="800"/>
                  </a:spcBef>
                  <a:spcAft>
                    <a:spcPct val="0"/>
                  </a:spcAft>
                </a:pPr>
                <a:r>
                  <a:rPr lang="en-US" altLang="en-US" sz="1333" kern="0">
                    <a:solidFill>
                      <a:srgbClr val="000000"/>
                    </a:solidFill>
                    <a:latin typeface="Delivery"/>
                  </a:rPr>
                  <a:t>Max-AGV</a:t>
                </a:r>
              </a:p>
            </p:txBody>
          </p:sp>
          <p:sp>
            <p:nvSpPr>
              <p:cNvPr id="72" name="Rechteck 16">
                <a:extLst>
                  <a:ext uri="{FF2B5EF4-FFF2-40B4-BE49-F238E27FC236}">
                    <a16:creationId xmlns:a16="http://schemas.microsoft.com/office/drawing/2014/main" id="{32D48F74-800C-4B56-BDE2-556B8EC6B3C1}"/>
                  </a:ext>
                </a:extLst>
              </p:cNvPr>
              <p:cNvSpPr/>
              <p:nvPr/>
            </p:nvSpPr>
            <p:spPr bwMode="auto">
              <a:xfrm>
                <a:off x="4226360" y="4226632"/>
                <a:ext cx="518960" cy="268375"/>
              </a:xfrm>
              <a:prstGeom prst="rect">
                <a:avLst/>
              </a:prstGeom>
              <a:pattFill prst="wdUpDiag">
                <a:fgClr>
                  <a:schemeClr val="accent3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317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920" tIns="121920" rIns="121920" bIns="1219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327117" eaLnBrk="0" fontAlgn="base" hangingPunct="0">
                  <a:lnSpc>
                    <a:spcPct val="90000"/>
                  </a:lnSpc>
                  <a:spcBef>
                    <a:spcPts val="800"/>
                  </a:spcBef>
                  <a:spcAft>
                    <a:spcPct val="0"/>
                  </a:spcAft>
                </a:pPr>
                <a:r>
                  <a:rPr lang="en-US" altLang="en-US" sz="1333" kern="0" err="1">
                    <a:solidFill>
                      <a:srgbClr val="000000"/>
                    </a:solidFill>
                    <a:latin typeface="Delivery"/>
                  </a:rPr>
                  <a:t>Rocla</a:t>
                </a:r>
                <a:endParaRPr lang="en-US" altLang="en-US" sz="1333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73" name="Rechteck 16">
                <a:extLst>
                  <a:ext uri="{FF2B5EF4-FFF2-40B4-BE49-F238E27FC236}">
                    <a16:creationId xmlns:a16="http://schemas.microsoft.com/office/drawing/2014/main" id="{32D48F74-800C-4B56-BDE2-556B8EC6B3C1}"/>
                  </a:ext>
                </a:extLst>
              </p:cNvPr>
              <p:cNvSpPr/>
              <p:nvPr/>
            </p:nvSpPr>
            <p:spPr bwMode="auto">
              <a:xfrm>
                <a:off x="4780679" y="4226632"/>
                <a:ext cx="518960" cy="268375"/>
              </a:xfrm>
              <a:prstGeom prst="rect">
                <a:avLst/>
              </a:prstGeom>
              <a:pattFill prst="wdUpDiag">
                <a:fgClr>
                  <a:schemeClr val="accent3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317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920" tIns="121920" rIns="121920" bIns="1219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327117" eaLnBrk="0" fontAlgn="base" hangingPunct="0">
                  <a:lnSpc>
                    <a:spcPct val="90000"/>
                  </a:lnSpc>
                  <a:spcBef>
                    <a:spcPts val="800"/>
                  </a:spcBef>
                  <a:spcAft>
                    <a:spcPct val="0"/>
                  </a:spcAft>
                </a:pPr>
                <a:r>
                  <a:rPr lang="en-US" altLang="en-US" sz="1333" kern="0">
                    <a:solidFill>
                      <a:srgbClr val="000000"/>
                    </a:solidFill>
                    <a:latin typeface="Delivery"/>
                  </a:rPr>
                  <a:t>other</a:t>
                </a:r>
              </a:p>
            </p:txBody>
          </p:sp>
        </p:grpSp>
      </p:grpSp>
      <p:sp>
        <p:nvSpPr>
          <p:cNvPr id="74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7267000" y="2915124"/>
            <a:ext cx="1832424" cy="609600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Situation Handler</a:t>
            </a:r>
          </a:p>
        </p:txBody>
      </p:sp>
      <p:sp>
        <p:nvSpPr>
          <p:cNvPr id="75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4850529" y="2915124"/>
            <a:ext cx="1998137" cy="609600"/>
          </a:xfrm>
          <a:prstGeom prst="rect">
            <a:avLst/>
          </a:prstGeom>
          <a:pattFill prst="pct20">
            <a:fgClr>
              <a:schemeClr val="accent6">
                <a:lumMod val="75000"/>
              </a:schemeClr>
            </a:fgClr>
            <a:bgClr>
              <a:schemeClr val="bg1"/>
            </a:bgClr>
          </a:patt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Data ingestion</a:t>
            </a:r>
          </a:p>
        </p:txBody>
      </p:sp>
      <p:sp>
        <p:nvSpPr>
          <p:cNvPr id="76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2480729" y="1670111"/>
            <a:ext cx="1998137" cy="609600"/>
          </a:xfrm>
          <a:prstGeom prst="rect">
            <a:avLst/>
          </a:prstGeom>
          <a:pattFill prst="pct20">
            <a:fgClr>
              <a:schemeClr val="accent6">
                <a:lumMod val="75000"/>
              </a:schemeClr>
            </a:fgClr>
            <a:bgClr>
              <a:schemeClr val="bg1"/>
            </a:bgClr>
          </a:patt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User Interface/Dashboard</a:t>
            </a:r>
          </a:p>
        </p:txBody>
      </p:sp>
      <p:sp>
        <p:nvSpPr>
          <p:cNvPr id="77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2480728" y="2915124"/>
            <a:ext cx="1998137" cy="609600"/>
          </a:xfrm>
          <a:prstGeom prst="rect">
            <a:avLst/>
          </a:prstGeom>
          <a:pattFill prst="pct20">
            <a:fgClr>
              <a:schemeClr val="accent6">
                <a:lumMod val="75000"/>
              </a:schemeClr>
            </a:fgClr>
            <a:bgClr>
              <a:schemeClr val="bg1"/>
            </a:bgClr>
          </a:patt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Robotics Hub</a:t>
            </a:r>
          </a:p>
        </p:txBody>
      </p:sp>
      <p:sp>
        <p:nvSpPr>
          <p:cNvPr id="80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9590133" y="1697820"/>
            <a:ext cx="1998137" cy="58189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Azure </a:t>
            </a:r>
            <a:r>
              <a:rPr lang="en-US" altLang="en-US" sz="1333" kern="0" dirty="0" err="1">
                <a:solidFill>
                  <a:srgbClr val="000000"/>
                </a:solidFill>
                <a:latin typeface="Delivery"/>
              </a:rPr>
              <a:t>IoT</a:t>
            </a: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 Central</a:t>
            </a:r>
          </a:p>
        </p:txBody>
      </p:sp>
      <p:cxnSp>
        <p:nvCxnSpPr>
          <p:cNvPr id="105" name="Straight Arrow Connector 104"/>
          <p:cNvCxnSpPr>
            <a:stCxn id="77" idx="0"/>
            <a:endCxn id="76" idx="2"/>
          </p:cNvCxnSpPr>
          <p:nvPr/>
        </p:nvCxnSpPr>
        <p:spPr>
          <a:xfrm flipV="1">
            <a:off x="3479797" y="2279711"/>
            <a:ext cx="1" cy="635413"/>
          </a:xfrm>
          <a:prstGeom prst="straightConnector1">
            <a:avLst/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6">
            <a:extLst>
              <a:ext uri="{FF2B5EF4-FFF2-40B4-BE49-F238E27FC236}">
                <a16:creationId xmlns:a16="http://schemas.microsoft.com/office/drawing/2014/main" id="{33C5BD82-6CA7-44DE-92E1-4DC28B9BF412}"/>
              </a:ext>
            </a:extLst>
          </p:cNvPr>
          <p:cNvSpPr/>
          <p:nvPr/>
        </p:nvSpPr>
        <p:spPr bwMode="auto">
          <a:xfrm>
            <a:off x="10367814" y="5205705"/>
            <a:ext cx="1220455" cy="90546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Human resources (mobile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s Hub Architecture</a:t>
            </a:r>
            <a:br>
              <a:rPr lang="en-US" dirty="0"/>
            </a:br>
            <a:endParaRPr lang="en-US" dirty="0"/>
          </a:p>
        </p:txBody>
      </p:sp>
      <p:sp>
        <p:nvSpPr>
          <p:cNvPr id="101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9590132" y="2915124"/>
            <a:ext cx="1998137" cy="609600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Event Hub/ Decision Handler</a:t>
            </a:r>
          </a:p>
        </p:txBody>
      </p:sp>
      <p:cxnSp>
        <p:nvCxnSpPr>
          <p:cNvPr id="63" name="Straight Arrow Connector 62"/>
          <p:cNvCxnSpPr>
            <a:stCxn id="77" idx="3"/>
            <a:endCxn id="75" idx="1"/>
          </p:cNvCxnSpPr>
          <p:nvPr/>
        </p:nvCxnSpPr>
        <p:spPr>
          <a:xfrm>
            <a:off x="4478864" y="3219924"/>
            <a:ext cx="371664" cy="0"/>
          </a:xfrm>
          <a:prstGeom prst="straightConnector1">
            <a:avLst/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stCxn id="75" idx="3"/>
            <a:endCxn id="74" idx="1"/>
          </p:cNvCxnSpPr>
          <p:nvPr/>
        </p:nvCxnSpPr>
        <p:spPr>
          <a:xfrm>
            <a:off x="6848666" y="3219924"/>
            <a:ext cx="418335" cy="0"/>
          </a:xfrm>
          <a:prstGeom prst="straightConnector1">
            <a:avLst/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95"/>
          <p:cNvCxnSpPr>
            <a:stCxn id="80" idx="2"/>
            <a:endCxn id="101" idx="0"/>
          </p:cNvCxnSpPr>
          <p:nvPr/>
        </p:nvCxnSpPr>
        <p:spPr>
          <a:xfrm rot="5400000">
            <a:off x="10271495" y="2597418"/>
            <a:ext cx="635413" cy="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>
            <a:stCxn id="74" idx="3"/>
            <a:endCxn id="101" idx="1"/>
          </p:cNvCxnSpPr>
          <p:nvPr/>
        </p:nvCxnSpPr>
        <p:spPr>
          <a:xfrm>
            <a:off x="9099424" y="3219924"/>
            <a:ext cx="490707" cy="0"/>
          </a:xfrm>
          <a:prstGeom prst="straightConnector1">
            <a:avLst/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7267000" y="1670111"/>
            <a:ext cx="1832424" cy="609600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User Interface/Dashboard</a:t>
            </a:r>
          </a:p>
        </p:txBody>
      </p:sp>
      <p:cxnSp>
        <p:nvCxnSpPr>
          <p:cNvPr id="89" name="Straight Arrow Connector 88"/>
          <p:cNvCxnSpPr>
            <a:stCxn id="86" idx="2"/>
            <a:endCxn id="101" idx="0"/>
          </p:cNvCxnSpPr>
          <p:nvPr/>
        </p:nvCxnSpPr>
        <p:spPr>
          <a:xfrm rot="16200000" flipH="1">
            <a:off x="9068499" y="1394423"/>
            <a:ext cx="635413" cy="2405988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>
            <a:stCxn id="74" idx="2"/>
            <a:endCxn id="64" idx="0"/>
          </p:cNvCxnSpPr>
          <p:nvPr/>
        </p:nvCxnSpPr>
        <p:spPr>
          <a:xfrm rot="5400000">
            <a:off x="7289526" y="3210177"/>
            <a:ext cx="579140" cy="1208236"/>
          </a:xfrm>
          <a:prstGeom prst="bentConnector3">
            <a:avLst>
              <a:gd name="adj1" fmla="val 38305"/>
            </a:avLst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>
            <a:stCxn id="75" idx="2"/>
            <a:endCxn id="64" idx="0"/>
          </p:cNvCxnSpPr>
          <p:nvPr/>
        </p:nvCxnSpPr>
        <p:spPr>
          <a:xfrm rot="16200000" flipH="1">
            <a:off x="6122718" y="3251604"/>
            <a:ext cx="579140" cy="1125379"/>
          </a:xfrm>
          <a:prstGeom prst="bentConnector3">
            <a:avLst>
              <a:gd name="adj1" fmla="val 38304"/>
            </a:avLst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>
            <a:stCxn id="77" idx="2"/>
            <a:endCxn id="60" idx="0"/>
          </p:cNvCxnSpPr>
          <p:nvPr/>
        </p:nvCxnSpPr>
        <p:spPr>
          <a:xfrm rot="16200000" flipH="1">
            <a:off x="2713403" y="4291117"/>
            <a:ext cx="1693143" cy="160355"/>
          </a:xfrm>
          <a:prstGeom prst="bentConnector3">
            <a:avLst>
              <a:gd name="adj1" fmla="val 86004"/>
            </a:avLst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/>
          <p:cNvCxnSpPr>
            <a:stCxn id="77" idx="2"/>
            <a:endCxn id="61" idx="0"/>
          </p:cNvCxnSpPr>
          <p:nvPr/>
        </p:nvCxnSpPr>
        <p:spPr>
          <a:xfrm rot="16200000" flipH="1">
            <a:off x="3941130" y="3063390"/>
            <a:ext cx="1680980" cy="2603647"/>
          </a:xfrm>
          <a:prstGeom prst="bentConnector3">
            <a:avLst>
              <a:gd name="adj1" fmla="val 86254"/>
            </a:avLst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8489978" y="1263805"/>
            <a:ext cx="1582980" cy="217579"/>
          </a:xfrm>
          <a:prstGeom prst="rect">
            <a:avLst/>
          </a:prstGeom>
          <a:pattFill prst="dkUp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067" kern="0" dirty="0">
                <a:solidFill>
                  <a:srgbClr val="000000"/>
                </a:solidFill>
                <a:latin typeface="Delivery"/>
              </a:rPr>
              <a:t>DHL Azure Cloud</a:t>
            </a:r>
          </a:p>
        </p:txBody>
      </p:sp>
      <p:sp>
        <p:nvSpPr>
          <p:cNvPr id="126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5472036" y="3784511"/>
            <a:ext cx="1814469" cy="364851"/>
          </a:xfrm>
          <a:prstGeom prst="rect">
            <a:avLst/>
          </a:prstGeom>
          <a:noFill/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333" kern="0" dirty="0">
                <a:solidFill>
                  <a:srgbClr val="000000"/>
                </a:solidFill>
                <a:latin typeface="Delivery"/>
              </a:rPr>
              <a:t>REST over HTTPS</a:t>
            </a:r>
          </a:p>
        </p:txBody>
      </p:sp>
      <p:cxnSp>
        <p:nvCxnSpPr>
          <p:cNvPr id="174" name="Straight Arrow Connector 99"/>
          <p:cNvCxnSpPr>
            <a:stCxn id="77" idx="2"/>
            <a:endCxn id="62" idx="0"/>
          </p:cNvCxnSpPr>
          <p:nvPr/>
        </p:nvCxnSpPr>
        <p:spPr>
          <a:xfrm rot="16200000" flipH="1">
            <a:off x="4882098" y="2122423"/>
            <a:ext cx="1693143" cy="4497744"/>
          </a:xfrm>
          <a:prstGeom prst="bentConnector3">
            <a:avLst>
              <a:gd name="adj1" fmla="val 85871"/>
            </a:avLst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6802935" y="1252913"/>
            <a:ext cx="1582980" cy="217579"/>
          </a:xfrm>
          <a:prstGeom prst="rect">
            <a:avLst/>
          </a:prstGeom>
          <a:pattFill prst="pct20">
            <a:fgClr>
              <a:schemeClr val="accent6">
                <a:lumMod val="75000"/>
              </a:schemeClr>
            </a:fgClr>
            <a:bgClr>
              <a:schemeClr val="bg1"/>
            </a:bgClr>
          </a:pattFill>
          <a:ln w="31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067" kern="0" dirty="0">
                <a:solidFill>
                  <a:srgbClr val="000000"/>
                </a:solidFill>
                <a:latin typeface="Delivery"/>
              </a:rPr>
              <a:t>JDA Azure Cloud</a:t>
            </a:r>
          </a:p>
        </p:txBody>
      </p:sp>
      <p:sp>
        <p:nvSpPr>
          <p:cNvPr id="90" name="Rechteck 16">
            <a:extLst>
              <a:ext uri="{FF2B5EF4-FFF2-40B4-BE49-F238E27FC236}">
                <a16:creationId xmlns:a16="http://schemas.microsoft.com/office/drawing/2014/main" id="{32D48F74-800C-4B56-BDE2-556B8EC6B3C1}"/>
              </a:ext>
            </a:extLst>
          </p:cNvPr>
          <p:cNvSpPr/>
          <p:nvPr/>
        </p:nvSpPr>
        <p:spPr bwMode="auto">
          <a:xfrm>
            <a:off x="10177020" y="1263806"/>
            <a:ext cx="1582979" cy="206687"/>
          </a:xfrm>
          <a:prstGeom prst="rect">
            <a:avLst/>
          </a:prstGeom>
          <a:noFill/>
          <a:ln w="12700" cap="rnd" cmpd="sng" algn="ctr">
            <a:solidFill>
              <a:schemeClr val="accent4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121920" rIns="121920" bIns="1219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327117" eaLnBrk="0" fontAlgn="base" hangingPunct="0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</a:pPr>
            <a:r>
              <a:rPr lang="en-US" altLang="en-US" sz="1067" kern="0" dirty="0">
                <a:solidFill>
                  <a:srgbClr val="000000"/>
                </a:solidFill>
                <a:latin typeface="Delivery"/>
              </a:rPr>
              <a:t>Area covered to date</a:t>
            </a:r>
          </a:p>
        </p:txBody>
      </p:sp>
      <p:sp>
        <p:nvSpPr>
          <p:cNvPr id="93" name="Textplatzhalter 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0769600" y="1"/>
            <a:ext cx="1422400" cy="176168"/>
          </a:xfrm>
          <a:prstGeom prst="rect">
            <a:avLst/>
          </a:prstGeom>
          <a:solidFill>
            <a:schemeClr val="tx2"/>
          </a:solidFill>
          <a:ln w="9525" cmpd="sng">
            <a:noFill/>
            <a:prstDash val="solid"/>
            <a:miter lim="800000"/>
            <a:headEnd/>
            <a:tailEnd/>
          </a:ln>
        </p:spPr>
        <p:txBody>
          <a:bodyPr vert="horz" wrap="square" lIns="96000" tIns="24000" rIns="6096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77">
              <a:spcAft>
                <a:spcPts val="672"/>
              </a:spcAft>
            </a:pPr>
            <a:r>
              <a:rPr lang="en-US" sz="1067" b="1" dirty="0">
                <a:solidFill>
                  <a:prstClr val="white"/>
                </a:solidFill>
                <a:latin typeface="Delivery"/>
              </a:rPr>
              <a:t>As of February 2021</a:t>
            </a:r>
          </a:p>
        </p:txBody>
      </p:sp>
      <p:cxnSp>
        <p:nvCxnSpPr>
          <p:cNvPr id="94" name="Straight Arrow Connector 93"/>
          <p:cNvCxnSpPr>
            <a:stCxn id="64" idx="3"/>
            <a:endCxn id="59" idx="0"/>
          </p:cNvCxnSpPr>
          <p:nvPr/>
        </p:nvCxnSpPr>
        <p:spPr>
          <a:xfrm>
            <a:off x="9099423" y="4408664"/>
            <a:ext cx="353928" cy="809203"/>
          </a:xfrm>
          <a:prstGeom prst="bentConnector2">
            <a:avLst/>
          </a:prstGeom>
          <a:ln w="12700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3" name="Group 172"/>
          <p:cNvGrpSpPr/>
          <p:nvPr/>
        </p:nvGrpSpPr>
        <p:grpSpPr>
          <a:xfrm>
            <a:off x="2433146" y="1528405"/>
            <a:ext cx="6843241" cy="4736887"/>
            <a:chOff x="1824859" y="1146303"/>
            <a:chExt cx="5132431" cy="3552665"/>
          </a:xfrm>
        </p:grpSpPr>
        <p:cxnSp>
          <p:nvCxnSpPr>
            <p:cNvPr id="58" name="Straight Connector 57"/>
            <p:cNvCxnSpPr>
              <a:endCxn id="56" idx="0"/>
            </p:cNvCxnSpPr>
            <p:nvPr/>
          </p:nvCxnSpPr>
          <p:spPr bwMode="auto">
            <a:xfrm flipV="1">
              <a:off x="1838958" y="1150938"/>
              <a:ext cx="3421292" cy="4316"/>
            </a:xfrm>
            <a:prstGeom prst="line">
              <a:avLst/>
            </a:prstGeom>
            <a:ln w="12700"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 bwMode="auto">
            <a:xfrm flipH="1">
              <a:off x="1824859" y="1171130"/>
              <a:ext cx="14099" cy="3515043"/>
            </a:xfrm>
            <a:prstGeom prst="line">
              <a:avLst/>
            </a:prstGeom>
            <a:ln w="12700"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 bwMode="auto">
            <a:xfrm>
              <a:off x="1824859" y="4694428"/>
              <a:ext cx="4630065" cy="0"/>
            </a:xfrm>
            <a:prstGeom prst="line">
              <a:avLst/>
            </a:prstGeom>
            <a:ln w="12700"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 bwMode="auto">
            <a:xfrm>
              <a:off x="5275778" y="1146303"/>
              <a:ext cx="13753" cy="1816804"/>
            </a:xfrm>
            <a:prstGeom prst="line">
              <a:avLst/>
            </a:prstGeom>
            <a:ln w="12700"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 bwMode="auto">
            <a:xfrm>
              <a:off x="6957290" y="2955412"/>
              <a:ext cx="0" cy="702172"/>
            </a:xfrm>
            <a:prstGeom prst="line">
              <a:avLst/>
            </a:prstGeom>
            <a:ln w="12700"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 bwMode="auto">
            <a:xfrm>
              <a:off x="6462771" y="3682925"/>
              <a:ext cx="9377" cy="1016043"/>
            </a:xfrm>
            <a:prstGeom prst="line">
              <a:avLst/>
            </a:prstGeom>
            <a:ln w="12700"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/>
          </p:nvCxnSpPr>
          <p:spPr bwMode="auto">
            <a:xfrm flipH="1">
              <a:off x="5289531" y="2963107"/>
              <a:ext cx="1659913" cy="0"/>
            </a:xfrm>
            <a:prstGeom prst="line">
              <a:avLst/>
            </a:prstGeom>
            <a:ln w="12700"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cxnSp>
        <p:nvCxnSpPr>
          <p:cNvPr id="97" name="Straight Connector 96"/>
          <p:cNvCxnSpPr/>
          <p:nvPr/>
        </p:nvCxnSpPr>
        <p:spPr bwMode="auto">
          <a:xfrm flipH="1">
            <a:off x="8606566" y="4876779"/>
            <a:ext cx="690876" cy="0"/>
          </a:xfrm>
          <a:prstGeom prst="line">
            <a:avLst/>
          </a:prstGeom>
          <a:ln w="12700">
            <a:prstDash val="sysDash"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5" name="Straight Arrow Connector 164"/>
          <p:cNvCxnSpPr>
            <a:stCxn id="59" idx="0"/>
            <a:endCxn id="110" idx="0"/>
          </p:cNvCxnSpPr>
          <p:nvPr/>
        </p:nvCxnSpPr>
        <p:spPr>
          <a:xfrm rot="5400000" flipH="1" flipV="1">
            <a:off x="10209615" y="4449440"/>
            <a:ext cx="12163" cy="1524691"/>
          </a:xfrm>
          <a:prstGeom prst="bentConnector3">
            <a:avLst>
              <a:gd name="adj1" fmla="val 3137108"/>
            </a:avLst>
          </a:prstGeom>
          <a:ln w="12700">
            <a:solidFill>
              <a:schemeClr val="accent2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TextBox 166"/>
          <p:cNvSpPr txBox="1"/>
          <p:nvPr/>
        </p:nvSpPr>
        <p:spPr>
          <a:xfrm>
            <a:off x="9684202" y="4875045"/>
            <a:ext cx="1555268" cy="3139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7">
              <a:lnSpc>
                <a:spcPct val="110000"/>
              </a:lnSpc>
              <a:spcAft>
                <a:spcPts val="667"/>
              </a:spcAft>
            </a:pPr>
            <a:r>
              <a:rPr lang="en-US" sz="1333" i="1" dirty="0">
                <a:solidFill>
                  <a:prstClr val="black"/>
                </a:solidFill>
                <a:latin typeface="Delivery"/>
              </a:rPr>
              <a:t>Existing Method</a:t>
            </a:r>
          </a:p>
        </p:txBody>
      </p:sp>
    </p:spTree>
    <p:extLst>
      <p:ext uri="{BB962C8B-B14F-4D97-AF65-F5344CB8AC3E}">
        <p14:creationId xmlns:p14="http://schemas.microsoft.com/office/powerpoint/2010/main" val="719666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3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defTabSz="914354"/>
            <a:endParaRPr lang="en-US" sz="2400" b="1" dirty="0" err="1">
              <a:solidFill>
                <a:prstClr val="black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addition to more efficient integration, the robotics hub also provides standard and continuous data feeds for reporting and potential 3D interaction opportuniti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31999" y="6405312"/>
            <a:ext cx="10823376" cy="184665"/>
          </a:xfrm>
        </p:spPr>
        <p:txBody>
          <a:bodyPr/>
          <a:lstStyle/>
          <a:p>
            <a:pPr defTabSz="914354"/>
            <a:r>
              <a:rPr lang="en-US">
                <a:solidFill>
                  <a:prstClr val="black"/>
                </a:solidFill>
                <a:latin typeface="Delivery"/>
              </a:rPr>
              <a:t>Robotics Hub Introduction | Accelerated Digitalization | BY CoE | April 2021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pic>
        <p:nvPicPr>
          <p:cNvPr id="9" name="Imagen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86401" y="1823754"/>
            <a:ext cx="6289780" cy="287499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879" y="3733800"/>
            <a:ext cx="6350036" cy="250825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486400" y="1606197"/>
            <a:ext cx="2743200" cy="203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7">
              <a:lnSpc>
                <a:spcPct val="110000"/>
              </a:lnSpc>
              <a:spcAft>
                <a:spcPts val="667"/>
              </a:spcAft>
            </a:pPr>
            <a:r>
              <a:rPr lang="en-US" sz="1333" i="1" dirty="0">
                <a:solidFill>
                  <a:prstClr val="black"/>
                </a:solidFill>
                <a:latin typeface="Delivery"/>
              </a:rPr>
              <a:t>Mercury – Digital Twin Warehouse</a:t>
            </a:r>
            <a:endParaRPr lang="en-US" sz="1333" i="1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31801" y="3501888"/>
            <a:ext cx="2730532" cy="3005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7">
              <a:lnSpc>
                <a:spcPct val="110000"/>
              </a:lnSpc>
              <a:spcAft>
                <a:spcPts val="667"/>
              </a:spcAft>
            </a:pPr>
            <a:r>
              <a:rPr lang="en-US" sz="1333" i="1" dirty="0">
                <a:solidFill>
                  <a:prstClr val="black"/>
                </a:solidFill>
                <a:latin typeface="Delivery"/>
              </a:rPr>
              <a:t>Robotics Hub Dashboard</a:t>
            </a:r>
          </a:p>
        </p:txBody>
      </p:sp>
    </p:spTree>
    <p:extLst>
      <p:ext uri="{BB962C8B-B14F-4D97-AF65-F5344CB8AC3E}">
        <p14:creationId xmlns:p14="http://schemas.microsoft.com/office/powerpoint/2010/main" val="136316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5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defTabSz="914377"/>
            <a:endParaRPr lang="en-US" sz="2400" b="1" dirty="0" err="1">
              <a:solidFill>
                <a:prstClr val="black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s journey already started: our Spanish team deployed eight 6 River Systems Chucks at </a:t>
            </a:r>
            <a:r>
              <a:rPr lang="en-US" dirty="0" err="1"/>
              <a:t>Tiendanimal</a:t>
            </a:r>
            <a:r>
              <a:rPr lang="en-US" dirty="0"/>
              <a:t>, Toledo using the DHL Robotics Hub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77"/>
            <a:r>
              <a:rPr lang="en-US">
                <a:solidFill>
                  <a:prstClr val="black"/>
                </a:solidFill>
                <a:latin typeface="Delivery"/>
              </a:rPr>
              <a:t>Robotics Hub Introduction | Accelerated Digitalization | BY CoE | April 2021</a:t>
            </a:r>
            <a:endParaRPr lang="en-US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2" name="Rectangle 11"/>
          <p:cNvSpPr/>
          <p:nvPr/>
        </p:nvSpPr>
        <p:spPr bwMode="gray">
          <a:xfrm>
            <a:off x="431999" y="1534584"/>
            <a:ext cx="5537388" cy="346584"/>
          </a:xfrm>
          <a:prstGeom prst="rect">
            <a:avLst/>
          </a:prstGeom>
          <a:solidFill>
            <a:schemeClr val="bg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67" b="1" dirty="0">
                <a:solidFill>
                  <a:prstClr val="black"/>
                </a:solidFill>
                <a:latin typeface="Delivery"/>
              </a:rPr>
              <a:t>6 River Systems at </a:t>
            </a:r>
            <a:r>
              <a:rPr lang="en-US" sz="1467" b="1" dirty="0" err="1">
                <a:solidFill>
                  <a:prstClr val="black"/>
                </a:solidFill>
                <a:latin typeface="Delivery"/>
              </a:rPr>
              <a:t>Tiendanimal</a:t>
            </a:r>
            <a:r>
              <a:rPr lang="en-US" sz="1467" b="1" dirty="0">
                <a:solidFill>
                  <a:prstClr val="black"/>
                </a:solidFill>
                <a:latin typeface="Delivery"/>
              </a:rPr>
              <a:t>, Spain</a:t>
            </a:r>
            <a:endParaRPr lang="en-US" sz="1467" b="1" i="1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6208184" y="1534584"/>
            <a:ext cx="5552016" cy="34658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algn="ctr" defTabSz="132711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67" b="1" dirty="0">
                <a:solidFill>
                  <a:prstClr val="black"/>
                </a:solidFill>
                <a:latin typeface="Delivery"/>
              </a:rPr>
              <a:t>Robotics Hub featured on Microsoft’s Inspire Conferenc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952" y="1995975"/>
            <a:ext cx="5364480" cy="3585509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 bwMode="auto">
          <a:xfrm>
            <a:off x="6218089" y="1881169"/>
            <a:ext cx="5527484" cy="4331248"/>
          </a:xfrm>
          <a:prstGeom prst="rect">
            <a:avLst/>
          </a:prstGeom>
          <a:noFill/>
          <a:ln w="12700" cap="flat" cmpd="sng" algn="ctr">
            <a:solidFill>
              <a:srgbClr val="FFE5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121920" rIns="48000" bIns="48000" numCol="1" rtlCol="0" anchor="b" anchorCtr="0" compatLnSpc="1">
            <a:prstTxWarp prst="textNoShape">
              <a:avLst/>
            </a:prstTxWarp>
          </a:bodyPr>
          <a:lstStyle/>
          <a:p>
            <a:pPr algn="ctr" defTabSz="914377"/>
            <a:r>
              <a:rPr lang="en-US" sz="1467" dirty="0">
                <a:solidFill>
                  <a:prstClr val="black"/>
                </a:solidFill>
                <a:latin typeface="Delivery"/>
                <a:hlinkClick r:id="rId8"/>
              </a:rPr>
              <a:t>Click here to view the full video!</a:t>
            </a:r>
            <a:r>
              <a:rPr lang="en-US" sz="1467" dirty="0">
                <a:solidFill>
                  <a:prstClr val="black"/>
                </a:solidFill>
                <a:latin typeface="Delivery"/>
              </a:rPr>
              <a:t> (22:22)</a:t>
            </a:r>
          </a:p>
          <a:p>
            <a:pPr algn="ctr" defTabSz="914377"/>
            <a:r>
              <a:rPr lang="en-US" sz="1467" dirty="0">
                <a:solidFill>
                  <a:prstClr val="black"/>
                </a:solidFill>
                <a:latin typeface="Delivery"/>
                <a:hlinkClick r:id="rId9"/>
              </a:rPr>
              <a:t>Click here for the Press Release</a:t>
            </a:r>
            <a:endParaRPr lang="en-US" sz="1533" dirty="0">
              <a:solidFill>
                <a:prstClr val="black"/>
              </a:solidFill>
              <a:latin typeface="Delivery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632964" y="2176146"/>
            <a:ext cx="5135457" cy="3225167"/>
            <a:chOff x="523633" y="1784681"/>
            <a:chExt cx="3851593" cy="2418875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3633" y="1784681"/>
              <a:ext cx="1948634" cy="954516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571678" y="1784681"/>
              <a:ext cx="1803548" cy="2418875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3633" y="3078911"/>
              <a:ext cx="1948634" cy="11072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4554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7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defTabSz="914377"/>
            <a:endParaRPr lang="en-US" sz="2400" b="1" dirty="0" err="1">
              <a:solidFill>
                <a:prstClr val="black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prioritization method ensures to deliver the most impactful opportunities for our business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77"/>
            <a:r>
              <a:rPr lang="en-US">
                <a:solidFill>
                  <a:prstClr val="black"/>
                </a:solidFill>
                <a:latin typeface="Delivery"/>
              </a:rPr>
              <a:t>Robotics Hub Introduction | Accelerated Digitalization | BY CoE | April 2021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34974" y="1534588"/>
            <a:ext cx="2112689" cy="4707461"/>
            <a:chOff x="409574" y="1872929"/>
            <a:chExt cx="1584517" cy="3918269"/>
          </a:xfrm>
        </p:grpSpPr>
        <p:sp>
          <p:nvSpPr>
            <p:cNvPr id="31" name="Rechteck 29"/>
            <p:cNvSpPr/>
            <p:nvPr/>
          </p:nvSpPr>
          <p:spPr bwMode="gray">
            <a:xfrm>
              <a:off x="414000" y="2068461"/>
              <a:ext cx="1580091" cy="3722737"/>
            </a:xfrm>
            <a:prstGeom prst="rect">
              <a:avLst/>
            </a:prstGeom>
            <a:noFill/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000" tIns="144000" rIns="96000" bIns="96000" numCol="1" rtlCol="0" anchor="t" anchorCtr="0" compatLnSpc="1">
              <a:prstTxWarp prst="textNoShape">
                <a:avLst/>
              </a:prstTxWarp>
            </a:bodyPr>
            <a:lstStyle/>
            <a:p>
              <a:pPr defTabSz="1327117" eaLnBrk="0" fontAlgn="base" hangingPunct="0">
                <a:spcBef>
                  <a:spcPct val="0"/>
                </a:spcBef>
                <a:spcAft>
                  <a:spcPts val="1600"/>
                </a:spcAft>
                <a:defRPr/>
              </a:pPr>
              <a:r>
                <a:rPr lang="en-US" sz="1333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We work as one team of business and IT experts</a:t>
              </a:r>
            </a:p>
            <a:p>
              <a:pPr defTabSz="1327117" eaLnBrk="0" fontAlgn="base" hangingPunct="0">
                <a:spcBef>
                  <a:spcPct val="0"/>
                </a:spcBef>
                <a:spcAft>
                  <a:spcPts val="1600"/>
                </a:spcAft>
                <a:defRPr/>
              </a:pPr>
              <a:r>
                <a:rPr lang="en-US" sz="1333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We aim for best available business and IT information to prioritize our robotics hub pipeline</a:t>
              </a:r>
            </a:p>
            <a:p>
              <a:pPr defTabSz="1327117" eaLnBrk="0" fontAlgn="base" hangingPunct="0">
                <a:spcBef>
                  <a:spcPct val="0"/>
                </a:spcBef>
                <a:spcAft>
                  <a:spcPts val="1600"/>
                </a:spcAft>
                <a:defRPr/>
              </a:pPr>
              <a:r>
                <a:rPr lang="en-US" sz="1333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We prioritize business impact over ease to integrate</a:t>
              </a:r>
            </a:p>
            <a:p>
              <a:pPr defTabSz="1327117" eaLnBrk="0" fontAlgn="base" hangingPunct="0">
                <a:spcBef>
                  <a:spcPct val="0"/>
                </a:spcBef>
                <a:spcAft>
                  <a:spcPts val="1600"/>
                </a:spcAft>
                <a:defRPr/>
              </a:pPr>
              <a:r>
                <a:rPr lang="en-US" sz="1333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We do not stop ongoing business integration projects, but look for paths to merge those onto the robotics hub efficiently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BAE99B8-77EC-4A02-94DD-AA2B212CE01F}"/>
                </a:ext>
              </a:extLst>
            </p:cNvPr>
            <p:cNvSpPr/>
            <p:nvPr/>
          </p:nvSpPr>
          <p:spPr bwMode="auto">
            <a:xfrm>
              <a:off x="409574" y="1872929"/>
              <a:ext cx="1584517" cy="195532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0960" tIns="60960" rIns="60960" bIns="6096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33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  <a:sym typeface="Delivery" panose="020F0503020204020204" pitchFamily="34" charset="0"/>
                </a:rPr>
                <a:t>Guiding principles</a:t>
              </a:r>
            </a:p>
          </p:txBody>
        </p:sp>
      </p:grpSp>
      <p:sp>
        <p:nvSpPr>
          <p:cNvPr id="7" name="Textplatzhalter 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 rot="16200000">
            <a:off x="1548643" y="3229200"/>
            <a:ext cx="3443509" cy="705129"/>
          </a:xfrm>
          <a:prstGeom prst="rect">
            <a:avLst/>
          </a:prstGeom>
          <a:noFill/>
          <a:ln w="0" cmpd="sng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77">
              <a:spcAft>
                <a:spcPts val="672"/>
              </a:spcAft>
              <a:defRPr/>
            </a:pPr>
            <a:r>
              <a:rPr lang="en-US" sz="1333" b="1" kern="0" dirty="0">
                <a:latin typeface="Delivery" panose="020F0503020204020204" pitchFamily="34" charset="0"/>
              </a:rPr>
              <a:t>Business need for technology/ vendor</a:t>
            </a:r>
            <a:endParaRPr lang="en-US" sz="1333" kern="0" dirty="0">
              <a:latin typeface="Delivery" panose="020F0503020204020204" pitchFamily="34" charset="0"/>
            </a:endParaRPr>
          </a:p>
          <a:p>
            <a:pPr defTabSz="914377">
              <a:spcAft>
                <a:spcPts val="672"/>
              </a:spcAft>
              <a:defRPr/>
            </a:pPr>
            <a:r>
              <a:rPr lang="en-US" sz="1333" kern="0" dirty="0">
                <a:latin typeface="Delivery" panose="020F0503020204020204" pitchFamily="34" charset="0"/>
              </a:rPr>
              <a:t>Provided by AD RDLs in Collab Hub and pipeline review calls</a:t>
            </a:r>
          </a:p>
        </p:txBody>
      </p:sp>
      <p:sp>
        <p:nvSpPr>
          <p:cNvPr id="8" name="Textplatzhalter 2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718207" y="2289311"/>
            <a:ext cx="354264" cy="205121"/>
          </a:xfrm>
          <a:prstGeom prst="rect">
            <a:avLst/>
          </a:prstGeom>
          <a:noFill/>
          <a:ln w="0" cmpd="sng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77">
              <a:spcAft>
                <a:spcPts val="672"/>
              </a:spcAft>
              <a:defRPr/>
            </a:pPr>
            <a:r>
              <a:rPr lang="en-US" sz="1333" kern="0" dirty="0">
                <a:latin typeface="Delivery" panose="020F0503020204020204" pitchFamily="34" charset="0"/>
              </a:rPr>
              <a:t>High</a:t>
            </a:r>
          </a:p>
        </p:txBody>
      </p:sp>
      <p:sp>
        <p:nvSpPr>
          <p:cNvPr id="9" name="Textplatzhalter 2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216461" y="5198779"/>
            <a:ext cx="1298432" cy="205121"/>
          </a:xfrm>
          <a:prstGeom prst="rect">
            <a:avLst/>
          </a:prstGeom>
          <a:noFill/>
          <a:ln w="0" cmpd="sng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77">
              <a:spcAft>
                <a:spcPts val="672"/>
              </a:spcAft>
              <a:defRPr/>
            </a:pPr>
            <a:r>
              <a:rPr lang="en-US" sz="1333" kern="0" dirty="0">
                <a:latin typeface="Delivery" panose="020F0503020204020204" pitchFamily="34" charset="0"/>
              </a:rPr>
              <a:t>Customer-owned</a:t>
            </a:r>
          </a:p>
        </p:txBody>
      </p:sp>
      <p:sp>
        <p:nvSpPr>
          <p:cNvPr id="10" name="Textplatzhalter 2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760952" y="4481294"/>
            <a:ext cx="315792" cy="205121"/>
          </a:xfrm>
          <a:prstGeom prst="rect">
            <a:avLst/>
          </a:prstGeom>
          <a:noFill/>
          <a:ln w="0" cmpd="sng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77">
              <a:spcAft>
                <a:spcPts val="672"/>
              </a:spcAft>
              <a:defRPr/>
            </a:pPr>
            <a:r>
              <a:rPr lang="en-US" sz="1333" kern="0" dirty="0">
                <a:latin typeface="Delivery" panose="020F0503020204020204" pitchFamily="34" charset="0"/>
              </a:rPr>
              <a:t>Low</a:t>
            </a:r>
          </a:p>
        </p:txBody>
      </p:sp>
      <p:sp>
        <p:nvSpPr>
          <p:cNvPr id="11" name="Textplatzhalter 2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189264" y="5198779"/>
            <a:ext cx="884858" cy="205121"/>
          </a:xfrm>
          <a:prstGeom prst="rect">
            <a:avLst/>
          </a:prstGeom>
          <a:noFill/>
          <a:ln w="0" cmpd="sng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77">
              <a:spcAft>
                <a:spcPts val="672"/>
              </a:spcAft>
              <a:defRPr/>
            </a:pPr>
            <a:r>
              <a:rPr lang="en-US" sz="1333" kern="0" dirty="0">
                <a:latin typeface="Delivery" panose="020F0503020204020204" pitchFamily="34" charset="0"/>
              </a:rPr>
              <a:t>Legacy DHL</a:t>
            </a:r>
          </a:p>
        </p:txBody>
      </p:sp>
      <p:sp>
        <p:nvSpPr>
          <p:cNvPr id="12" name="Textplatzhalter 2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7912559" y="5198779"/>
            <a:ext cx="1030731" cy="205121"/>
          </a:xfrm>
          <a:prstGeom prst="rect">
            <a:avLst/>
          </a:prstGeom>
          <a:noFill/>
          <a:ln w="0" cmpd="sng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77">
              <a:spcAft>
                <a:spcPts val="672"/>
              </a:spcAft>
              <a:defRPr/>
            </a:pPr>
            <a:r>
              <a:rPr lang="en-US" sz="1333" kern="0" dirty="0">
                <a:latin typeface="Delivery" panose="020F0503020204020204" pitchFamily="34" charset="0"/>
              </a:rPr>
              <a:t>Strategic DHL</a:t>
            </a:r>
          </a:p>
        </p:txBody>
      </p:sp>
      <p:sp>
        <p:nvSpPr>
          <p:cNvPr id="13" name="Textplatzhalter 2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216459" y="5511462"/>
            <a:ext cx="4826749" cy="705129"/>
          </a:xfrm>
          <a:prstGeom prst="rect">
            <a:avLst/>
          </a:prstGeom>
          <a:noFill/>
          <a:ln w="0" cmpd="sng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77">
              <a:spcAft>
                <a:spcPts val="672"/>
              </a:spcAft>
              <a:defRPr/>
            </a:pPr>
            <a:r>
              <a:rPr lang="en-US" sz="1333" b="1" kern="0" dirty="0">
                <a:latin typeface="Delivery" panose="020F0503020204020204" pitchFamily="34" charset="0"/>
              </a:rPr>
              <a:t>Ease of technology/robotic-WMS-integration</a:t>
            </a:r>
            <a:endParaRPr lang="en-US" sz="1333" kern="0" dirty="0">
              <a:latin typeface="Delivery" panose="020F0503020204020204" pitchFamily="34" charset="0"/>
            </a:endParaRPr>
          </a:p>
          <a:p>
            <a:pPr defTabSz="914377">
              <a:spcAft>
                <a:spcPts val="672"/>
              </a:spcAft>
              <a:defRPr/>
            </a:pPr>
            <a:r>
              <a:rPr lang="en-US" sz="1333" kern="0" dirty="0">
                <a:latin typeface="Delivery" panose="020F0503020204020204" pitchFamily="34" charset="0"/>
              </a:rPr>
              <a:t>Provided by Robotics Hub and Enterprise Architecture teams in pipeline review call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CA5F24-5310-46E3-BB0D-56B71471CCF8}"/>
              </a:ext>
            </a:extLst>
          </p:cNvPr>
          <p:cNvSpPr/>
          <p:nvPr/>
        </p:nvSpPr>
        <p:spPr bwMode="auto">
          <a:xfrm>
            <a:off x="4255617" y="1867253"/>
            <a:ext cx="1597152" cy="10436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60960" rIns="60960" bIns="60960" numCol="1" rtlCol="0" anchor="ctr" anchorCtr="0" compatLnSpc="1">
            <a:prstTxWarp prst="textNoShape">
              <a:avLst/>
            </a:prstTxWarp>
          </a:bodyPr>
          <a:lstStyle/>
          <a:p>
            <a:pPr defTabSz="9953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3) Investiga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2CA5F24-5310-46E3-BB0D-56B71471CCF8}"/>
              </a:ext>
            </a:extLst>
          </p:cNvPr>
          <p:cNvSpPr/>
          <p:nvPr/>
        </p:nvSpPr>
        <p:spPr bwMode="auto">
          <a:xfrm>
            <a:off x="5891929" y="1867253"/>
            <a:ext cx="1597152" cy="1043644"/>
          </a:xfrm>
          <a:prstGeom prst="rect">
            <a:avLst/>
          </a:prstGeom>
          <a:solidFill>
            <a:srgbClr val="ABEF9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60960" rIns="60960" bIns="60960" numCol="1" rtlCol="0" anchor="ctr" anchorCtr="0" compatLnSpc="1">
            <a:prstTxWarp prst="textNoShape">
              <a:avLst/>
            </a:prstTxWarp>
          </a:bodyPr>
          <a:lstStyle/>
          <a:p>
            <a:pPr defTabSz="9953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2) Let’s make it happe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2CA5F24-5310-46E3-BB0D-56B71471CCF8}"/>
              </a:ext>
            </a:extLst>
          </p:cNvPr>
          <p:cNvSpPr/>
          <p:nvPr/>
        </p:nvSpPr>
        <p:spPr bwMode="auto">
          <a:xfrm>
            <a:off x="7535265" y="1867253"/>
            <a:ext cx="1597152" cy="1043644"/>
          </a:xfrm>
          <a:prstGeom prst="rect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60960" rIns="60960" bIns="60960" numCol="1" rtlCol="0" anchor="ctr" anchorCtr="0" compatLnSpc="1">
            <a:prstTxWarp prst="textNoShape">
              <a:avLst/>
            </a:prstTxWarp>
          </a:bodyPr>
          <a:lstStyle/>
          <a:p>
            <a:pPr defTabSz="9953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1) Sweet spo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CA5F24-5310-46E3-BB0D-56B71471CCF8}"/>
              </a:ext>
            </a:extLst>
          </p:cNvPr>
          <p:cNvSpPr/>
          <p:nvPr/>
        </p:nvSpPr>
        <p:spPr bwMode="auto">
          <a:xfrm>
            <a:off x="4255617" y="2967109"/>
            <a:ext cx="1597152" cy="10436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60960" rIns="60960" bIns="60960" numCol="1" rtlCol="0" anchor="ctr" anchorCtr="0" compatLnSpc="1">
            <a:prstTxWarp prst="textNoShape">
              <a:avLst/>
            </a:prstTxWarp>
          </a:bodyPr>
          <a:lstStyle/>
          <a:p>
            <a:pPr defTabSz="9953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4) Whenever capacity permits</a:t>
            </a:r>
            <a:endParaRPr lang="en-US" sz="1333" dirty="0">
              <a:solidFill>
                <a:prstClr val="black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2CA5F24-5310-46E3-BB0D-56B71471CCF8}"/>
              </a:ext>
            </a:extLst>
          </p:cNvPr>
          <p:cNvSpPr/>
          <p:nvPr/>
        </p:nvSpPr>
        <p:spPr bwMode="auto">
          <a:xfrm>
            <a:off x="5891929" y="2967109"/>
            <a:ext cx="1597152" cy="10436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60960" rIns="60960" bIns="60960" numCol="1" rtlCol="0" anchor="ctr" anchorCtr="0" compatLnSpc="1">
            <a:prstTxWarp prst="textNoShape">
              <a:avLst/>
            </a:prstTxWarp>
          </a:bodyPr>
          <a:lstStyle/>
          <a:p>
            <a:pPr defTabSz="9953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3) Investigat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2CA5F24-5310-46E3-BB0D-56B71471CCF8}"/>
              </a:ext>
            </a:extLst>
          </p:cNvPr>
          <p:cNvSpPr/>
          <p:nvPr/>
        </p:nvSpPr>
        <p:spPr bwMode="auto">
          <a:xfrm>
            <a:off x="7535265" y="2967109"/>
            <a:ext cx="1597152" cy="1043644"/>
          </a:xfrm>
          <a:prstGeom prst="rect">
            <a:avLst/>
          </a:prstGeom>
          <a:solidFill>
            <a:srgbClr val="ABEF9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60960" rIns="60960" bIns="60960" numCol="1" rtlCol="0" anchor="ctr" anchorCtr="0" compatLnSpc="1">
            <a:prstTxWarp prst="textNoShape">
              <a:avLst/>
            </a:prstTxWarp>
          </a:bodyPr>
          <a:lstStyle/>
          <a:p>
            <a:pPr defTabSz="9953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2) No regret mov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2CA5F24-5310-46E3-BB0D-56B71471CCF8}"/>
              </a:ext>
            </a:extLst>
          </p:cNvPr>
          <p:cNvSpPr/>
          <p:nvPr/>
        </p:nvSpPr>
        <p:spPr bwMode="auto">
          <a:xfrm>
            <a:off x="4255617" y="4063638"/>
            <a:ext cx="1597152" cy="1043644"/>
          </a:xfrm>
          <a:prstGeom prst="rect">
            <a:avLst/>
          </a:prstGeom>
          <a:pattFill prst="wdUpDiag">
            <a:fgClr>
              <a:schemeClr val="accent4">
                <a:lumMod val="20000"/>
                <a:lumOff val="80000"/>
              </a:schemeClr>
            </a:fgClr>
            <a:bgClr>
              <a:schemeClr val="bg1"/>
            </a:bgClr>
          </a:patt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60960" rIns="60960" bIns="60960" numCol="1" rtlCol="0" anchor="ctr" anchorCtr="0" compatLnSpc="1">
            <a:prstTxWarp prst="textNoShape">
              <a:avLst/>
            </a:prstTxWarp>
          </a:bodyPr>
          <a:lstStyle/>
          <a:p>
            <a:pPr defTabSz="9953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6) Individual Analysi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CA5F24-5310-46E3-BB0D-56B71471CCF8}"/>
              </a:ext>
            </a:extLst>
          </p:cNvPr>
          <p:cNvSpPr/>
          <p:nvPr/>
        </p:nvSpPr>
        <p:spPr bwMode="auto">
          <a:xfrm>
            <a:off x="5891929" y="4063638"/>
            <a:ext cx="1597152" cy="104364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60960" rIns="60960" bIns="60960" numCol="1" rtlCol="0" anchor="ctr" anchorCtr="0" compatLnSpc="1">
            <a:prstTxWarp prst="textNoShape">
              <a:avLst/>
            </a:prstTxWarp>
          </a:bodyPr>
          <a:lstStyle/>
          <a:p>
            <a:pPr defTabSz="9953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5) Individual Analysis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2CA5F24-5310-46E3-BB0D-56B71471CCF8}"/>
              </a:ext>
            </a:extLst>
          </p:cNvPr>
          <p:cNvSpPr/>
          <p:nvPr/>
        </p:nvSpPr>
        <p:spPr bwMode="auto">
          <a:xfrm>
            <a:off x="7535265" y="4063638"/>
            <a:ext cx="1597152" cy="10436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60960" rIns="60960" bIns="60960" numCol="1" rtlCol="0" anchor="ctr" anchorCtr="0" compatLnSpc="1">
            <a:prstTxWarp prst="textNoShape">
              <a:avLst/>
            </a:prstTxWarp>
          </a:bodyPr>
          <a:lstStyle/>
          <a:p>
            <a:pPr defTabSz="9953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4) Whenever capacity permits</a:t>
            </a:r>
          </a:p>
        </p:txBody>
      </p:sp>
      <p:sp>
        <p:nvSpPr>
          <p:cNvPr id="23" name="Freeform 26"/>
          <p:cNvSpPr>
            <a:spLocks/>
          </p:cNvSpPr>
          <p:nvPr/>
        </p:nvSpPr>
        <p:spPr bwMode="gray">
          <a:xfrm>
            <a:off x="4216457" y="1867255"/>
            <a:ext cx="4915960" cy="3240029"/>
          </a:xfrm>
          <a:custGeom>
            <a:avLst/>
            <a:gdLst>
              <a:gd name="T0" fmla="*/ 0 w 4422"/>
              <a:gd name="T1" fmla="*/ 0 h 2490"/>
              <a:gd name="T2" fmla="*/ 0 w 4422"/>
              <a:gd name="T3" fmla="*/ 2147483647 h 2490"/>
              <a:gd name="T4" fmla="*/ 2147483647 w 4422"/>
              <a:gd name="T5" fmla="*/ 2147483647 h 249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4422" h="2490">
                <a:moveTo>
                  <a:pt x="0" y="0"/>
                </a:moveTo>
                <a:lnTo>
                  <a:pt x="0" y="2490"/>
                </a:lnTo>
                <a:lnTo>
                  <a:pt x="4422" y="2490"/>
                </a:lnTo>
              </a:path>
            </a:pathLst>
          </a:custGeom>
          <a:noFill/>
          <a:ln w="25400" cap="flat" cmpd="sng">
            <a:solidFill>
              <a:srgbClr val="808080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2000" tIns="192000" rIns="192000" bIns="192000" anchor="ctr"/>
          <a:lstStyle/>
          <a:p>
            <a:pPr defTabSz="914377">
              <a:defRPr/>
            </a:pPr>
            <a:endParaRPr lang="en-US" sz="1333" kern="0" dirty="0">
              <a:solidFill>
                <a:srgbClr val="000000"/>
              </a:solidFill>
              <a:latin typeface="Delivery" panose="020F0503020204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BAE99B8-77EC-4A02-94DD-AA2B212CE01F}"/>
              </a:ext>
            </a:extLst>
          </p:cNvPr>
          <p:cNvSpPr/>
          <p:nvPr/>
        </p:nvSpPr>
        <p:spPr bwMode="auto">
          <a:xfrm>
            <a:off x="2720975" y="1534585"/>
            <a:ext cx="6515100" cy="234915"/>
          </a:xfrm>
          <a:prstGeom prst="rect">
            <a:avLst/>
          </a:prstGeom>
          <a:solidFill>
            <a:schemeClr val="bg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0960" tIns="60960" rIns="6096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9953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33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Prioritization logic</a:t>
            </a:r>
          </a:p>
        </p:txBody>
      </p:sp>
      <p:sp>
        <p:nvSpPr>
          <p:cNvPr id="25" name="Rechteck 29"/>
          <p:cNvSpPr/>
          <p:nvPr/>
        </p:nvSpPr>
        <p:spPr bwMode="gray">
          <a:xfrm>
            <a:off x="2715783" y="1769502"/>
            <a:ext cx="6520292" cy="4472548"/>
          </a:xfrm>
          <a:prstGeom prst="rect">
            <a:avLst/>
          </a:prstGeom>
          <a:noFill/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144000" rIns="96000" bIns="96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ts val="800"/>
              </a:spcAft>
              <a:defRPr/>
            </a:pPr>
            <a:endParaRPr lang="en-US" sz="1333" kern="0" dirty="0">
              <a:solidFill>
                <a:srgbClr val="000000"/>
              </a:solidFill>
              <a:latin typeface="Delivery" panose="020F0503020204020204" pitchFamily="34" charset="0"/>
            </a:endParaRPr>
          </a:p>
        </p:txBody>
      </p:sp>
      <p:cxnSp>
        <p:nvCxnSpPr>
          <p:cNvPr id="26" name="Straight Connector 25"/>
          <p:cNvCxnSpPr/>
          <p:nvPr/>
        </p:nvCxnSpPr>
        <p:spPr bwMode="auto">
          <a:xfrm flipV="1">
            <a:off x="2720975" y="5107282"/>
            <a:ext cx="1495483" cy="1138316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27" name="Group 26"/>
          <p:cNvGrpSpPr/>
          <p:nvPr/>
        </p:nvGrpSpPr>
        <p:grpSpPr>
          <a:xfrm>
            <a:off x="9404195" y="1534588"/>
            <a:ext cx="2149631" cy="4707464"/>
            <a:chOff x="7136490" y="1872929"/>
            <a:chExt cx="1612223" cy="3918271"/>
          </a:xfrm>
        </p:grpSpPr>
        <p:sp>
          <p:nvSpPr>
            <p:cNvPr id="29" name="Rechteck 29"/>
            <p:cNvSpPr/>
            <p:nvPr/>
          </p:nvSpPr>
          <p:spPr bwMode="gray">
            <a:xfrm>
              <a:off x="7140916" y="2068461"/>
              <a:ext cx="1607797" cy="3722739"/>
            </a:xfrm>
            <a:prstGeom prst="rect">
              <a:avLst/>
            </a:prstGeom>
            <a:noFill/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6000" tIns="144000" rIns="96000" bIns="96000" numCol="1" rtlCol="0" anchor="t" anchorCtr="0" compatLnSpc="1">
              <a:prstTxWarp prst="textNoShape">
                <a:avLst/>
              </a:prstTxWarp>
            </a:bodyPr>
            <a:lstStyle/>
            <a:p>
              <a:pPr defTabSz="1327117" eaLnBrk="0" fontAlgn="base" hangingPunct="0">
                <a:spcBef>
                  <a:spcPct val="0"/>
                </a:spcBef>
                <a:spcAft>
                  <a:spcPts val="1600"/>
                </a:spcAft>
                <a:defRPr/>
              </a:pPr>
              <a:r>
                <a:rPr lang="en-US" sz="1333" b="1" kern="0" dirty="0">
                  <a:solidFill>
                    <a:srgbClr val="000000"/>
                  </a:solidFill>
                  <a:latin typeface="Delivery" panose="020F0503020204020204" pitchFamily="34" charset="0"/>
                  <a:hlinkClick r:id="rId14"/>
                </a:rPr>
                <a:t>Accelerated Digitalization Deployment Leads </a:t>
              </a:r>
              <a:r>
                <a:rPr lang="en-US" sz="1333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continuously flag high business need projects in AD Collaboration Hub</a:t>
              </a:r>
            </a:p>
            <a:p>
              <a:pPr defTabSz="1327117" eaLnBrk="0" fontAlgn="base" hangingPunct="0">
                <a:spcBef>
                  <a:spcPct val="0"/>
                </a:spcBef>
                <a:spcAft>
                  <a:spcPts val="1600"/>
                </a:spcAft>
                <a:defRPr/>
              </a:pPr>
              <a:r>
                <a:rPr lang="en-US" sz="1333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AD Product Development &amp; Pipeline Manager consolidates information from AD Collaboration Hub and complements with Ease of technology information from Enterprise Architecture teams</a:t>
              </a:r>
            </a:p>
            <a:p>
              <a:pPr defTabSz="1327117" eaLnBrk="0" fontAlgn="base" hangingPunct="0">
                <a:spcBef>
                  <a:spcPct val="0"/>
                </a:spcBef>
                <a:spcAft>
                  <a:spcPts val="1600"/>
                </a:spcAft>
                <a:defRPr/>
              </a:pPr>
              <a:r>
                <a:rPr lang="en-US" sz="1333" kern="0" dirty="0">
                  <a:solidFill>
                    <a:srgbClr val="000000"/>
                  </a:solidFill>
                  <a:latin typeface="Delivery" panose="020F0503020204020204" pitchFamily="34" charset="0"/>
                </a:rPr>
                <a:t>Prioritization is confirmed in decision call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BAE99B8-77EC-4A02-94DD-AA2B212CE01F}"/>
                </a:ext>
              </a:extLst>
            </p:cNvPr>
            <p:cNvSpPr/>
            <p:nvPr/>
          </p:nvSpPr>
          <p:spPr bwMode="auto">
            <a:xfrm>
              <a:off x="7136490" y="1872929"/>
              <a:ext cx="1612223" cy="195532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0960" tIns="60960" rIns="60960" bIns="6096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9533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>
                  <a:solidFill>
                    <a:prstClr val="black"/>
                  </a:solidFill>
                  <a:latin typeface="Delivery" panose="020F0503020204020204" pitchFamily="34" charset="0"/>
                  <a:sym typeface="Delivery" panose="020F0503020204020204" pitchFamily="34" charset="0"/>
                </a:rPr>
                <a:t>Monthly proce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112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ics Hub Opportunity Journey</a:t>
            </a:r>
            <a:br>
              <a:rPr lang="en-US" dirty="0"/>
            </a:b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77"/>
            <a:r>
              <a:rPr lang="en-US">
                <a:solidFill>
                  <a:prstClr val="black"/>
                </a:solidFill>
                <a:latin typeface="Delivery"/>
              </a:rPr>
              <a:t>Robotics Hub Introduction | Accelerated Digitalization | BY CoE | April 2021</a:t>
            </a:r>
            <a:endParaRPr lang="en-US">
              <a:solidFill>
                <a:prstClr val="black"/>
              </a:solidFill>
              <a:latin typeface="Delivery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431800" y="2126400"/>
            <a:ext cx="11343768" cy="3605481"/>
            <a:chOff x="312173" y="1150938"/>
            <a:chExt cx="8507826" cy="2704111"/>
          </a:xfrm>
        </p:grpSpPr>
        <p:sp>
          <p:nvSpPr>
            <p:cNvPr id="11" name="Rectangle 10"/>
            <p:cNvSpPr/>
            <p:nvPr/>
          </p:nvSpPr>
          <p:spPr>
            <a:xfrm>
              <a:off x="312173" y="2066650"/>
              <a:ext cx="1516627" cy="178839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t">
              <a:noAutofit/>
            </a:bodyPr>
            <a:lstStyle/>
            <a:p>
              <a:pPr defTabSz="914377"/>
              <a:r>
                <a:rPr lang="en-US" sz="1600" b="1" dirty="0">
                  <a:solidFill>
                    <a:prstClr val="black"/>
                  </a:solidFill>
                  <a:latin typeface="Delivery"/>
                </a:rPr>
                <a:t>Is this technology a fit for the Robotics Hub?</a:t>
              </a:r>
            </a:p>
            <a:p>
              <a:pPr defTabSz="914377"/>
              <a:r>
                <a:rPr lang="en-US" sz="1600" dirty="0">
                  <a:solidFill>
                    <a:prstClr val="black"/>
                  </a:solidFill>
                  <a:latin typeface="Delivery"/>
                </a:rPr>
                <a:t>High-level assessment of opportunities based on knock-out criteria from Robotics Hub</a:t>
              </a:r>
            </a:p>
          </p:txBody>
        </p:sp>
        <p:sp>
          <p:nvSpPr>
            <p:cNvPr id="12" name="Chevron 189">
              <a:hlinkClick r:id="rId2"/>
              <a:extLst>
                <a:ext uri="{FF2B5EF4-FFF2-40B4-BE49-F238E27FC236}">
                  <a16:creationId xmlns:a16="http://schemas.microsoft.com/office/drawing/2014/main" id="{90E0CB17-7BC6-45C4-A041-CAA1FDB0864B}"/>
                </a:ext>
              </a:extLst>
            </p:cNvPr>
            <p:cNvSpPr/>
            <p:nvPr/>
          </p:nvSpPr>
          <p:spPr bwMode="auto">
            <a:xfrm>
              <a:off x="323850" y="1150938"/>
              <a:ext cx="1653122" cy="677108"/>
            </a:xfrm>
            <a:prstGeom prst="homePlate">
              <a:avLst>
                <a:gd name="adj" fmla="val 25476"/>
              </a:avLst>
            </a:prstGeom>
            <a:solidFill>
              <a:schemeClr val="tx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0960" tIns="121920" rIns="60960" bIns="12192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95338" eaLnBrk="0" fontAlgn="base" hangingPunct="0"/>
              <a:r>
                <a:rPr lang="en-US" sz="2133" b="1" dirty="0">
                  <a:solidFill>
                    <a:prstClr val="white"/>
                  </a:solidFill>
                  <a:latin typeface="Delivery" panose="020F0503020204020204" pitchFamily="34" charset="0"/>
                  <a:sym typeface="Delivery" panose="020F0503020204020204" pitchFamily="34" charset="0"/>
                </a:rPr>
                <a:t>Potential Opportunity</a:t>
              </a:r>
            </a:p>
          </p:txBody>
        </p:sp>
        <p:sp>
          <p:nvSpPr>
            <p:cNvPr id="13" name="Chevron 190">
              <a:hlinkClick r:id="rId3"/>
              <a:extLst>
                <a:ext uri="{FF2B5EF4-FFF2-40B4-BE49-F238E27FC236}">
                  <a16:creationId xmlns:a16="http://schemas.microsoft.com/office/drawing/2014/main" id="{6205821B-A995-44C9-81F6-698D19D46300}"/>
                </a:ext>
              </a:extLst>
            </p:cNvPr>
            <p:cNvSpPr/>
            <p:nvPr/>
          </p:nvSpPr>
          <p:spPr bwMode="auto">
            <a:xfrm>
              <a:off x="2046582" y="1150938"/>
              <a:ext cx="1641596" cy="677108"/>
            </a:xfrm>
            <a:prstGeom prst="homePlate">
              <a:avLst>
                <a:gd name="adj" fmla="val 25476"/>
              </a:avLst>
            </a:prstGeom>
            <a:solidFill>
              <a:srgbClr val="FFCC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0960" tIns="121920" rIns="60960" bIns="12192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95338" eaLnBrk="0" fontAlgn="base" hangingPunct="0"/>
              <a:r>
                <a:rPr lang="en-US" sz="2133" b="1" dirty="0">
                  <a:solidFill>
                    <a:prstClr val="white"/>
                  </a:solidFill>
                  <a:latin typeface="Delivery" panose="020F0503020204020204" pitchFamily="34" charset="0"/>
                  <a:sym typeface="Delivery" panose="020F0503020204020204" pitchFamily="34" charset="0"/>
                </a:rPr>
                <a:t>Opportunity</a:t>
              </a:r>
            </a:p>
            <a:p>
              <a:pPr defTabSz="995338" eaLnBrk="0" fontAlgn="base" hangingPunct="0"/>
              <a:r>
                <a:rPr lang="en-US" sz="2133" b="1" dirty="0">
                  <a:solidFill>
                    <a:prstClr val="white"/>
                  </a:solidFill>
                  <a:latin typeface="Delivery" panose="020F0503020204020204" pitchFamily="34" charset="0"/>
                  <a:sym typeface="Delivery" panose="020F0503020204020204" pitchFamily="34" charset="0"/>
                </a:rPr>
                <a:t>Assessment</a:t>
              </a:r>
            </a:p>
          </p:txBody>
        </p:sp>
        <p:sp>
          <p:nvSpPr>
            <p:cNvPr id="14" name="Chevron 191">
              <a:hlinkClick r:id="rId4"/>
              <a:extLst>
                <a:ext uri="{FF2B5EF4-FFF2-40B4-BE49-F238E27FC236}">
                  <a16:creationId xmlns:a16="http://schemas.microsoft.com/office/drawing/2014/main" id="{D7472653-98D8-483E-89D2-188F6405853B}"/>
                </a:ext>
              </a:extLst>
            </p:cNvPr>
            <p:cNvSpPr/>
            <p:nvPr/>
          </p:nvSpPr>
          <p:spPr bwMode="auto">
            <a:xfrm>
              <a:off x="3757788" y="1150938"/>
              <a:ext cx="1641596" cy="677108"/>
            </a:xfrm>
            <a:prstGeom prst="homePlate">
              <a:avLst>
                <a:gd name="adj" fmla="val 25476"/>
              </a:avLst>
            </a:prstGeom>
            <a:solidFill>
              <a:srgbClr val="FFCC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0960" tIns="121920" rIns="60960" bIns="12192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95338" eaLnBrk="0" fontAlgn="base" hangingPunct="0"/>
              <a:r>
                <a:rPr lang="en-US" sz="2133" b="1" dirty="0">
                  <a:solidFill>
                    <a:prstClr val="white"/>
                  </a:solidFill>
                  <a:latin typeface="Delivery" panose="020F0503020204020204" pitchFamily="34" charset="0"/>
                  <a:sym typeface="Delivery" panose="020F0503020204020204" pitchFamily="34" charset="0"/>
                </a:rPr>
                <a:t>Planning &amp; Approval</a:t>
              </a:r>
            </a:p>
          </p:txBody>
        </p:sp>
        <p:sp>
          <p:nvSpPr>
            <p:cNvPr id="15" name="Chevron 192">
              <a:hlinkClick r:id="rId5"/>
              <a:extLst>
                <a:ext uri="{FF2B5EF4-FFF2-40B4-BE49-F238E27FC236}">
                  <a16:creationId xmlns:a16="http://schemas.microsoft.com/office/drawing/2014/main" id="{C2B1ACB7-C525-4DAB-99EC-2A926B8B1C0A}"/>
                </a:ext>
              </a:extLst>
            </p:cNvPr>
            <p:cNvSpPr/>
            <p:nvPr/>
          </p:nvSpPr>
          <p:spPr bwMode="auto">
            <a:xfrm>
              <a:off x="5468994" y="1150938"/>
              <a:ext cx="1641596" cy="677108"/>
            </a:xfrm>
            <a:prstGeom prst="homePlate">
              <a:avLst>
                <a:gd name="adj" fmla="val 25476"/>
              </a:avLst>
            </a:prstGeom>
            <a:solidFill>
              <a:srgbClr val="D4051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0960" tIns="121920" rIns="60960" bIns="12192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95338" eaLnBrk="0" fontAlgn="base" hangingPunct="0"/>
              <a:r>
                <a:rPr lang="en-US" sz="2133" b="1" dirty="0">
                  <a:solidFill>
                    <a:prstClr val="white"/>
                  </a:solidFill>
                  <a:latin typeface="Delivery" panose="020F0503020204020204" pitchFamily="34" charset="0"/>
                  <a:sym typeface="Delivery" panose="020F0503020204020204" pitchFamily="34" charset="0"/>
                </a:rPr>
                <a:t>Deployment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046582" y="2066650"/>
              <a:ext cx="1493424" cy="178839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t">
              <a:noAutofit/>
            </a:bodyPr>
            <a:lstStyle/>
            <a:p>
              <a:pPr defTabSz="914377"/>
              <a:r>
                <a:rPr lang="en-US" sz="1600" b="1" dirty="0">
                  <a:solidFill>
                    <a:prstClr val="black"/>
                  </a:solidFill>
                  <a:latin typeface="Delivery"/>
                </a:rPr>
                <a:t>Checking the connectivity</a:t>
              </a:r>
            </a:p>
            <a:p>
              <a:pPr defTabSz="914377"/>
              <a:r>
                <a:rPr lang="en-US" sz="1600" dirty="0">
                  <a:solidFill>
                    <a:prstClr val="black"/>
                  </a:solidFill>
                  <a:latin typeface="Delivery"/>
                </a:rPr>
                <a:t>Deep-dive assessment on WMS and vendor </a:t>
              </a:r>
              <a:r>
                <a:rPr lang="en-US" sz="1600" dirty="0" err="1">
                  <a:solidFill>
                    <a:prstClr val="black"/>
                  </a:solidFill>
                  <a:latin typeface="Delivery"/>
                </a:rPr>
                <a:t>connectivities</a:t>
              </a:r>
              <a:endParaRPr lang="en-US" sz="1600" dirty="0">
                <a:solidFill>
                  <a:prstClr val="black"/>
                </a:solidFill>
                <a:latin typeface="Delivery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749088" y="2066650"/>
              <a:ext cx="1493424" cy="178839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t">
              <a:noAutofit/>
            </a:bodyPr>
            <a:lstStyle/>
            <a:p>
              <a:pPr defTabSz="914377"/>
              <a:r>
                <a:rPr lang="en-US" sz="1600" b="1" dirty="0">
                  <a:solidFill>
                    <a:prstClr val="black"/>
                  </a:solidFill>
                  <a:latin typeface="Delivery"/>
                </a:rPr>
                <a:t>Do we have an approval from our stakeholders?</a:t>
              </a:r>
            </a:p>
            <a:p>
              <a:pPr defTabSz="914377"/>
              <a:r>
                <a:rPr lang="en-US" sz="1600" dirty="0">
                  <a:solidFill>
                    <a:prstClr val="black"/>
                  </a:solidFill>
                  <a:latin typeface="Delivery"/>
                </a:rPr>
                <a:t>Get necessary approvals to design the solution and implementation time-frame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468994" y="2066650"/>
              <a:ext cx="1493424" cy="178839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t">
              <a:noAutofit/>
            </a:bodyPr>
            <a:lstStyle/>
            <a:p>
              <a:pPr defTabSz="914377"/>
              <a:r>
                <a:rPr lang="en-US" sz="1600" b="1" dirty="0">
                  <a:solidFill>
                    <a:prstClr val="black"/>
                  </a:solidFill>
                  <a:latin typeface="Delivery"/>
                </a:rPr>
                <a:t>Let’s go-live</a:t>
              </a:r>
            </a:p>
            <a:p>
              <a:pPr defTabSz="914377"/>
              <a:r>
                <a:rPr lang="en-US" sz="1600" dirty="0">
                  <a:solidFill>
                    <a:prstClr val="black"/>
                  </a:solidFill>
                  <a:latin typeface="Delivery"/>
                </a:rPr>
                <a:t>After SIT/UAT are completed, our opportunity is live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201065" y="2066650"/>
              <a:ext cx="1493424" cy="178839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t">
              <a:noAutofit/>
            </a:bodyPr>
            <a:lstStyle/>
            <a:p>
              <a:pPr defTabSz="914377"/>
              <a:r>
                <a:rPr lang="en-US" sz="1600" b="1" dirty="0">
                  <a:solidFill>
                    <a:prstClr val="black"/>
                  </a:solidFill>
                  <a:latin typeface="Delivery"/>
                </a:rPr>
                <a:t>How can we improve?</a:t>
              </a:r>
            </a:p>
            <a:p>
              <a:pPr defTabSz="914377"/>
              <a:r>
                <a:rPr lang="en-US" sz="1600" dirty="0">
                  <a:solidFill>
                    <a:prstClr val="black"/>
                  </a:solidFill>
                  <a:latin typeface="Delivery"/>
                </a:rPr>
                <a:t>Build continuous improvement mindset and grow with feedbacks</a:t>
              </a:r>
            </a:p>
          </p:txBody>
        </p:sp>
        <p:sp>
          <p:nvSpPr>
            <p:cNvPr id="21" name="Chevron 192">
              <a:hlinkClick r:id="rId5"/>
              <a:extLst>
                <a:ext uri="{FF2B5EF4-FFF2-40B4-BE49-F238E27FC236}">
                  <a16:creationId xmlns:a16="http://schemas.microsoft.com/office/drawing/2014/main" id="{C2B1ACB7-C525-4DAB-99EC-2A926B8B1C0A}"/>
                </a:ext>
              </a:extLst>
            </p:cNvPr>
            <p:cNvSpPr/>
            <p:nvPr/>
          </p:nvSpPr>
          <p:spPr bwMode="auto">
            <a:xfrm>
              <a:off x="7178403" y="1150938"/>
              <a:ext cx="1641596" cy="677108"/>
            </a:xfrm>
            <a:prstGeom prst="homePlate">
              <a:avLst>
                <a:gd name="adj" fmla="val 25476"/>
              </a:avLst>
            </a:prstGeom>
            <a:solidFill>
              <a:srgbClr val="D4051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0960" tIns="121920" rIns="60960" bIns="12192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95338" eaLnBrk="0" fontAlgn="base" hangingPunct="0"/>
              <a:r>
                <a:rPr lang="en-US" sz="2133" b="1" dirty="0">
                  <a:solidFill>
                    <a:prstClr val="white"/>
                  </a:solidFill>
                  <a:latin typeface="Delivery" panose="020F0503020204020204" pitchFamily="34" charset="0"/>
                  <a:sym typeface="Delivery" panose="020F0503020204020204" pitchFamily="34" charset="0"/>
                </a:rPr>
                <a:t>Sustain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431800" y="889000"/>
            <a:ext cx="11313032" cy="472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7">
              <a:lnSpc>
                <a:spcPct val="110000"/>
              </a:lnSpc>
              <a:spcAft>
                <a:spcPts val="667"/>
              </a:spcAft>
            </a:pPr>
            <a:r>
              <a:rPr lang="en-US" sz="2133" b="1" dirty="0">
                <a:solidFill>
                  <a:prstClr val="black"/>
                </a:solidFill>
                <a:latin typeface="Delivery"/>
              </a:rPr>
              <a:t>This 5 steps user-oriented journey supports our teams to assess potential Robotics Hub opportunities and understand the process end-to-end</a:t>
            </a:r>
          </a:p>
        </p:txBody>
      </p:sp>
    </p:spTree>
    <p:extLst>
      <p:ext uri="{BB962C8B-B14F-4D97-AF65-F5344CB8AC3E}">
        <p14:creationId xmlns:p14="http://schemas.microsoft.com/office/powerpoint/2010/main" val="631573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1279327"/>
              </p:ext>
            </p:extLst>
          </p:nvPr>
        </p:nvGraphicFramePr>
        <p:xfrm>
          <a:off x="3999" y="3176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98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999" y="3176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882" y="1060"/>
            <a:ext cx="211601" cy="21160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3199" b="1" dirty="0" err="1">
              <a:solidFill>
                <a:srgbClr val="000000"/>
              </a:solidFill>
              <a:latin typeface="Delivery Arabic Cd Black" panose="020F0906020204020204" pitchFamily="34" charset="-78"/>
              <a:ea typeface="+mj-ea"/>
              <a:cs typeface="Delivery Arabic Cd Black" panose="020F0906020204020204" pitchFamily="34" charset="-78"/>
              <a:sym typeface="Delivery Arabic Cd Black" panose="020F0906020204020204" pitchFamily="34" charset="-78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6115" y="1463"/>
            <a:ext cx="12184006" cy="6855884"/>
          </a:xfrm>
          <a:prstGeom prst="rect">
            <a:avLst/>
          </a:prstGeom>
          <a:solidFill>
            <a:schemeClr val="tx1">
              <a:alpha val="5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5970" tIns="47985" rIns="47985" bIns="47985" numCol="1" rtlCol="0" anchor="t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599" dirty="0" err="1">
              <a:solidFill>
                <a:srgbClr val="000000"/>
              </a:solidFill>
              <a:latin typeface="Delivery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125" y="467574"/>
            <a:ext cx="10026696" cy="6538667"/>
          </a:xfrm>
          <a:prstGeom prst="rect">
            <a:avLst/>
          </a:prstGeom>
        </p:spPr>
      </p:pic>
      <p:sp>
        <p:nvSpPr>
          <p:cNvPr id="24" name="Rechteck 5">
            <a:extLst>
              <a:ext uri="{FF2B5EF4-FFF2-40B4-BE49-F238E27FC236}">
                <a16:creationId xmlns:a16="http://schemas.microsoft.com/office/drawing/2014/main" id="{741FC0B6-0516-794C-BE5B-E241B9A4BDCF}"/>
              </a:ext>
            </a:extLst>
          </p:cNvPr>
          <p:cNvSpPr/>
          <p:nvPr/>
        </p:nvSpPr>
        <p:spPr bwMode="hidden">
          <a:xfrm rot="16200000">
            <a:off x="10101368" y="-1012759"/>
            <a:ext cx="969782" cy="320772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5921" tIns="255921" rIns="255921" bIns="255921" numCol="1" rtlCol="0" anchor="ctr" anchorCtr="0" compatLnSpc="1">
            <a:prstTxWarp prst="textNoShape">
              <a:avLst/>
            </a:prstTxWarp>
          </a:bodyPr>
          <a:lstStyle/>
          <a:p>
            <a:pPr defTabSz="176878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89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199" cap="all" dirty="0">
                <a:solidFill>
                  <a:schemeClr val="bg1"/>
                </a:solidFill>
                <a:latin typeface="Delivery Arabic Cd Black" panose="020F0906020204020204" pitchFamily="34" charset="-78"/>
                <a:cs typeface="Delivery Arabic Cd Black" panose="020F0906020204020204" pitchFamily="34" charset="-78"/>
              </a:rPr>
              <a:t>The DHL Logistics Trend Radar</a:t>
            </a:r>
            <a:r>
              <a:rPr lang="de-DE" sz="3199" cap="all" baseline="30000" dirty="0">
                <a:solidFill>
                  <a:schemeClr val="bg1"/>
                </a:solidFill>
                <a:latin typeface="Delivery Arabic Cd Black" panose="020F0906020204020204" pitchFamily="34" charset="-78"/>
                <a:cs typeface="Delivery Arabic Cd Black" panose="020F0906020204020204" pitchFamily="34" charset="-78"/>
              </a:rPr>
              <a:t>TM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Box 10"/>
          <p:cNvSpPr txBox="1"/>
          <p:nvPr/>
        </p:nvSpPr>
        <p:spPr>
          <a:xfrm>
            <a:off x="9982438" y="4947198"/>
            <a:ext cx="1901560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103">
              <a:lnSpc>
                <a:spcPct val="110000"/>
              </a:lnSpc>
              <a:spcAft>
                <a:spcPts val="666"/>
              </a:spcAft>
            </a:pPr>
            <a:r>
              <a:rPr lang="en-US" sz="1200" dirty="0">
                <a:solidFill>
                  <a:srgbClr val="FFFFFF"/>
                </a:solidFill>
                <a:latin typeface="Delivery"/>
              </a:rPr>
              <a:t>SCAN TO DOWNLOAD THE LOGISTCS TREND RADAR</a:t>
            </a:r>
            <a:endParaRPr lang="de-DE" sz="1200" dirty="0" err="1">
              <a:solidFill>
                <a:srgbClr val="FFFFFF"/>
              </a:solidFill>
              <a:latin typeface="Delivery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72339" y="5439943"/>
            <a:ext cx="1211659" cy="1196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76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5982640"/>
              </p:ext>
            </p:extLst>
          </p:nvPr>
        </p:nvGraphicFramePr>
        <p:xfrm>
          <a:off x="3999" y="3176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999" y="3176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882" y="1060"/>
            <a:ext cx="211601" cy="21160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3199" b="1" dirty="0" err="1">
              <a:solidFill>
                <a:srgbClr val="000000"/>
              </a:solidFill>
              <a:latin typeface="Delivery Arabic Cd Black" panose="020F0906020204020204" pitchFamily="34" charset="-78"/>
              <a:ea typeface="+mj-ea"/>
              <a:cs typeface="Delivery Arabic Cd Black" panose="020F0906020204020204" pitchFamily="34" charset="-78"/>
              <a:sym typeface="Delivery Arabic Cd Black" panose="020F0906020204020204" pitchFamily="34" charset="-78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6115" y="1463"/>
            <a:ext cx="12184006" cy="6855884"/>
          </a:xfrm>
          <a:prstGeom prst="rect">
            <a:avLst/>
          </a:prstGeom>
          <a:solidFill>
            <a:schemeClr val="tx1">
              <a:alpha val="5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5970" tIns="47985" rIns="47985" bIns="47985" numCol="1" rtlCol="0" anchor="t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599" dirty="0" err="1">
              <a:solidFill>
                <a:srgbClr val="000000"/>
              </a:solidFill>
              <a:latin typeface="Delivery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125" y="467574"/>
            <a:ext cx="10026696" cy="6538667"/>
          </a:xfrm>
          <a:prstGeom prst="rect">
            <a:avLst/>
          </a:prstGeom>
        </p:spPr>
      </p:pic>
      <p:sp>
        <p:nvSpPr>
          <p:cNvPr id="24" name="Rechteck 5">
            <a:extLst>
              <a:ext uri="{FF2B5EF4-FFF2-40B4-BE49-F238E27FC236}">
                <a16:creationId xmlns:a16="http://schemas.microsoft.com/office/drawing/2014/main" id="{741FC0B6-0516-794C-BE5B-E241B9A4BDCF}"/>
              </a:ext>
            </a:extLst>
          </p:cNvPr>
          <p:cNvSpPr/>
          <p:nvPr/>
        </p:nvSpPr>
        <p:spPr bwMode="hidden">
          <a:xfrm rot="16200000">
            <a:off x="10101368" y="-1012759"/>
            <a:ext cx="969782" cy="320772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5921" tIns="255921" rIns="255921" bIns="255921" numCol="1" rtlCol="0" anchor="ctr" anchorCtr="0" compatLnSpc="1">
            <a:prstTxWarp prst="textNoShape">
              <a:avLst/>
            </a:prstTxWarp>
          </a:bodyPr>
          <a:lstStyle/>
          <a:p>
            <a:pPr defTabSz="1768782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89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199" dirty="0" smtClean="0">
                <a:solidFill>
                  <a:schemeClr val="bg1"/>
                </a:solidFill>
                <a:latin typeface="Delivery Arabic Cd Black" panose="020F0906020204020204" pitchFamily="34" charset="-78"/>
                <a:cs typeface="Delivery Arabic Cd Black" panose="020F0906020204020204" pitchFamily="34" charset="-78"/>
              </a:rPr>
              <a:t>CLOUD &amp; API‘S</a:t>
            </a:r>
            <a:endParaRPr lang="de-DE" sz="3199" baseline="30000" dirty="0">
              <a:solidFill>
                <a:schemeClr val="bg1"/>
              </a:solidFill>
              <a:latin typeface="Delivery Arabic Cd Black" panose="020F0906020204020204" pitchFamily="34" charset="-78"/>
              <a:cs typeface="Delivery Arabic Cd Black" panose="020F0906020204020204" pitchFamily="34" charset="-78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Oval 15"/>
          <p:cNvSpPr/>
          <p:nvPr/>
        </p:nvSpPr>
        <p:spPr bwMode="auto">
          <a:xfrm>
            <a:off x="6827871" y="3907580"/>
            <a:ext cx="862300" cy="342078"/>
          </a:xfrm>
          <a:prstGeom prst="ellips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6000" tIns="48000" rIns="48000" bIns="48000" numCol="1" rtlCol="0" anchor="t" anchorCtr="0" compatLnSpc="1">
            <a:prstTxWarp prst="textNoShape">
              <a:avLst/>
            </a:prstTxWarp>
          </a:bodyPr>
          <a:lstStyle/>
          <a:p>
            <a:pPr defTabSz="1327117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600" dirty="0" err="1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3909" y="1223590"/>
            <a:ext cx="5123662" cy="3402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946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963805"/>
              </p:ext>
            </p:extLst>
          </p:nvPr>
        </p:nvGraphicFramePr>
        <p:xfrm>
          <a:off x="3999" y="3176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3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999" y="3176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193A937A-F72B-4406-A19C-2114556A7EF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882" y="1060"/>
            <a:ext cx="211601" cy="21160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199" b="1" dirty="0" err="1">
              <a:solidFill>
                <a:srgbClr val="000000"/>
              </a:solidFill>
              <a:latin typeface="Delivery Arabic Cd Black" panose="020F0906020204020204" pitchFamily="34" charset="-78"/>
              <a:ea typeface="+mj-ea"/>
              <a:cs typeface="Delivery Arabic Cd Black" panose="020F0906020204020204" pitchFamily="34" charset="-78"/>
              <a:sym typeface="Delivery Arabic Cd Black" panose="020F0906020204020204" pitchFamily="34" charset="-7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115" y="1463"/>
            <a:ext cx="12184006" cy="6855884"/>
          </a:xfrm>
          <a:prstGeom prst="rect">
            <a:avLst/>
          </a:prstGeom>
          <a:solidFill>
            <a:schemeClr val="tx1">
              <a:alpha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5970" tIns="47985" rIns="47985" bIns="47985" numCol="1" rtlCol="0" anchor="t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599" dirty="0" err="1">
              <a:solidFill>
                <a:srgbClr val="000000"/>
              </a:solidFill>
              <a:latin typeface="Delivery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535120" y="255515"/>
            <a:ext cx="8767858" cy="820484"/>
          </a:xfrm>
        </p:spPr>
        <p:txBody>
          <a:bodyPr/>
          <a:lstStyle/>
          <a:p>
            <a:pPr defTabSz="1218804">
              <a:defRPr/>
            </a:pPr>
            <a:r>
              <a:rPr lang="en-US" sz="3199" dirty="0" smtClean="0">
                <a:solidFill>
                  <a:srgbClr val="FFFFFF"/>
                </a:solidFill>
                <a:latin typeface="Delivery Arabic Cd Black" panose="020F0906020204020204" pitchFamily="34" charset="-78"/>
                <a:cs typeface="Delivery Arabic Cd Black" panose="020F0906020204020204" pitchFamily="34" charset="-78"/>
              </a:rPr>
              <a:t>UNDERSTANDING </a:t>
            </a:r>
            <a:r>
              <a:rPr lang="en-US" sz="3199" dirty="0" smtClean="0">
                <a:solidFill>
                  <a:srgbClr val="FFCC00"/>
                </a:solidFill>
                <a:latin typeface="Delivery Arabic Cd Black" panose="020F0906020204020204" pitchFamily="34" charset="-78"/>
                <a:cs typeface="Delivery Arabic Cd Black" panose="020F0906020204020204" pitchFamily="34" charset="-78"/>
              </a:rPr>
              <a:t>CLOUD &amp; API’S</a:t>
            </a:r>
            <a:endParaRPr lang="en-US" sz="3199" dirty="0">
              <a:solidFill>
                <a:srgbClr val="FFCC00"/>
              </a:solidFill>
              <a:latin typeface="Delivery Arabic Cd Black" panose="020F0906020204020204" pitchFamily="34" charset="-78"/>
              <a:cs typeface="Delivery Arabic Cd Black" panose="020F0906020204020204" pitchFamily="34" charset="-78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80043E-3B23-416E-85CF-8B1FD82508F3}"/>
              </a:ext>
            </a:extLst>
          </p:cNvPr>
          <p:cNvSpPr>
            <a:spLocks noGrp="1"/>
          </p:cNvSpPr>
          <p:nvPr>
            <p:ph type="body" sz="quarter" idx="2"/>
          </p:nvPr>
        </p:nvSpPr>
        <p:spPr bwMode="gray">
          <a:xfrm>
            <a:off x="553711" y="1061"/>
            <a:ext cx="27252" cy="247628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15" name="Rechteck 5">
            <a:extLst>
              <a:ext uri="{FF2B5EF4-FFF2-40B4-BE49-F238E27FC236}">
                <a16:creationId xmlns:a16="http://schemas.microsoft.com/office/drawing/2014/main" id="{741FC0B6-0516-794C-BE5B-E241B9A4BDCF}"/>
              </a:ext>
            </a:extLst>
          </p:cNvPr>
          <p:cNvSpPr/>
          <p:nvPr/>
        </p:nvSpPr>
        <p:spPr bwMode="hidden">
          <a:xfrm rot="16200000">
            <a:off x="10304221" y="-796697"/>
            <a:ext cx="977216" cy="279459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19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6" name="Grafik 7">
            <a:extLst>
              <a:ext uri="{FF2B5EF4-FFF2-40B4-BE49-F238E27FC236}">
                <a16:creationId xmlns:a16="http://schemas.microsoft.com/office/drawing/2014/main" id="{296CC859-77EF-6B46-B7DD-85DD99C2BB6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4584" y="311491"/>
            <a:ext cx="1383661" cy="590587"/>
          </a:xfrm>
          <a:prstGeom prst="rect">
            <a:avLst/>
          </a:prstGeom>
        </p:spPr>
      </p:pic>
      <p:sp>
        <p:nvSpPr>
          <p:cNvPr id="22" name="Title 31"/>
          <p:cNvSpPr txBox="1">
            <a:spLocks/>
          </p:cNvSpPr>
          <p:nvPr/>
        </p:nvSpPr>
        <p:spPr>
          <a:xfrm>
            <a:off x="553711" y="1504100"/>
            <a:ext cx="11103125" cy="717491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8804">
              <a:spcAft>
                <a:spcPts val="1800"/>
              </a:spcAft>
              <a:defRPr/>
            </a:pPr>
            <a:r>
              <a:rPr lang="en-US" sz="3199" b="1" dirty="0" smtClean="0">
                <a:solidFill>
                  <a:schemeClr val="accent3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Cloud computing</a:t>
            </a:r>
            <a:r>
              <a:rPr lang="en-US" sz="3199" dirty="0" smtClean="0">
                <a:solidFill>
                  <a:schemeClr val="accent3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 </a:t>
            </a:r>
            <a:r>
              <a:rPr lang="en-US" sz="3199" dirty="0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core to the digital transformation of the logistics industry at all levels</a:t>
            </a:r>
          </a:p>
          <a:p>
            <a:pPr defTabSz="1218804">
              <a:spcAft>
                <a:spcPts val="1800"/>
              </a:spcAft>
              <a:defRPr/>
            </a:pPr>
            <a:endParaRPr lang="en-US" sz="3199" dirty="0" smtClean="0">
              <a:solidFill>
                <a:srgbClr val="FFFFFF"/>
              </a:solidFill>
              <a:latin typeface="Delivery" panose="020F0503020204020204" pitchFamily="34" charset="0"/>
              <a:cs typeface="Aharoni" panose="02010803020104030203" pitchFamily="2" charset="-79"/>
            </a:endParaRPr>
          </a:p>
          <a:p>
            <a:pPr defTabSz="1218804">
              <a:spcAft>
                <a:spcPts val="1800"/>
              </a:spcAft>
              <a:defRPr/>
            </a:pPr>
            <a:r>
              <a:rPr lang="en-US" sz="3199" dirty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C</a:t>
            </a:r>
            <a:r>
              <a:rPr lang="en-US" sz="3199" dirty="0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osts </a:t>
            </a:r>
            <a:r>
              <a:rPr lang="de-DE" sz="3199" dirty="0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| time </a:t>
            </a:r>
            <a:r>
              <a:rPr lang="de-DE" sz="3199" dirty="0" err="1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to</a:t>
            </a:r>
            <a:r>
              <a:rPr lang="de-DE" sz="3199" dirty="0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 </a:t>
            </a:r>
            <a:r>
              <a:rPr lang="de-DE" sz="3199" dirty="0" err="1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market</a:t>
            </a:r>
            <a:r>
              <a:rPr lang="de-DE" sz="3199" dirty="0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 | </a:t>
            </a:r>
            <a:r>
              <a:rPr lang="de-DE" sz="3199" dirty="0" err="1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integration</a:t>
            </a:r>
            <a:r>
              <a:rPr lang="de-DE" sz="3199" dirty="0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 | </a:t>
            </a:r>
            <a:r>
              <a:rPr lang="de-DE" sz="3199" dirty="0" err="1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continuous</a:t>
            </a:r>
            <a:r>
              <a:rPr lang="de-DE" sz="3199" dirty="0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 </a:t>
            </a:r>
            <a:r>
              <a:rPr lang="de-DE" sz="3199" dirty="0" err="1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updates</a:t>
            </a:r>
            <a:endParaRPr lang="de-DE" sz="3199" dirty="0" smtClean="0">
              <a:solidFill>
                <a:srgbClr val="FFFFFF"/>
              </a:solidFill>
              <a:latin typeface="Delivery" panose="020F0503020204020204" pitchFamily="34" charset="0"/>
              <a:cs typeface="Aharoni" panose="02010803020104030203" pitchFamily="2" charset="-79"/>
            </a:endParaRPr>
          </a:p>
          <a:p>
            <a:pPr defTabSz="1218804">
              <a:spcAft>
                <a:spcPts val="1800"/>
              </a:spcAft>
              <a:defRPr/>
            </a:pPr>
            <a:endParaRPr lang="en-US" sz="3199" dirty="0">
              <a:solidFill>
                <a:srgbClr val="FFFFFF"/>
              </a:solidFill>
              <a:latin typeface="Delivery" panose="020F0503020204020204" pitchFamily="34" charset="0"/>
              <a:cs typeface="Aharoni" panose="02010803020104030203" pitchFamily="2" charset="-79"/>
            </a:endParaRPr>
          </a:p>
          <a:p>
            <a:pPr defTabSz="1218804">
              <a:spcAft>
                <a:spcPts val="1800"/>
              </a:spcAft>
              <a:defRPr/>
            </a:pPr>
            <a:r>
              <a:rPr lang="en-US" sz="3199" b="1" dirty="0" smtClean="0">
                <a:solidFill>
                  <a:schemeClr val="accent3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Application Programming Interfaces </a:t>
            </a:r>
            <a:r>
              <a:rPr lang="en-US" sz="3199" dirty="0" smtClean="0">
                <a:solidFill>
                  <a:srgbClr val="FFFFFF"/>
                </a:solidFill>
                <a:latin typeface="Delivery" panose="020F0503020204020204" pitchFamily="34" charset="0"/>
                <a:cs typeface="Aharoni" panose="02010803020104030203" pitchFamily="2" charset="-79"/>
              </a:rPr>
              <a:t>(API’s) software protocols that allow applications to communicate and exchange information</a:t>
            </a:r>
          </a:p>
          <a:p>
            <a:pPr defTabSz="1218804">
              <a:lnSpc>
                <a:spcPct val="150000"/>
              </a:lnSpc>
              <a:spcAft>
                <a:spcPts val="3999"/>
              </a:spcAft>
              <a:defRPr/>
            </a:pPr>
            <a:endParaRPr lang="en-US" sz="3199" dirty="0" smtClean="0">
              <a:solidFill>
                <a:srgbClr val="FFFFFF"/>
              </a:solidFill>
              <a:latin typeface="Delivery" panose="020F0503020204020204" pitchFamily="34" charset="0"/>
              <a:cs typeface="Aharoni" panose="02010803020104030203" pitchFamily="2" charset="-79"/>
            </a:endParaRPr>
          </a:p>
          <a:p>
            <a:pPr defTabSz="1218804">
              <a:lnSpc>
                <a:spcPct val="150000"/>
              </a:lnSpc>
              <a:spcAft>
                <a:spcPts val="3999"/>
              </a:spcAft>
              <a:defRPr/>
            </a:pPr>
            <a:endParaRPr lang="en-US" sz="3199" dirty="0">
              <a:solidFill>
                <a:srgbClr val="FFFFFF"/>
              </a:solidFill>
              <a:latin typeface="Delivery" panose="020F0503020204020204" pitchFamily="34" charset="0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328923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1594407"/>
              </p:ext>
            </p:extLst>
          </p:nvPr>
        </p:nvGraphicFramePr>
        <p:xfrm>
          <a:off x="3999" y="3176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8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999" y="3176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193A937A-F72B-4406-A19C-2114556A7EF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882" y="1060"/>
            <a:ext cx="211601" cy="21160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199" b="1" dirty="0" err="1">
              <a:solidFill>
                <a:srgbClr val="000000"/>
              </a:solidFill>
              <a:latin typeface="Delivery Arabic Cd Black" panose="020F0906020204020204" pitchFamily="34" charset="-78"/>
              <a:ea typeface="+mj-ea"/>
              <a:cs typeface="Delivery Arabic Cd Black" panose="020F0906020204020204" pitchFamily="34" charset="-78"/>
              <a:sym typeface="Delivery Arabic Cd Black" panose="020F0906020204020204" pitchFamily="34" charset="-78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83" y="0"/>
            <a:ext cx="12222104" cy="6874934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auto">
          <a:xfrm>
            <a:off x="-31983" y="1462"/>
            <a:ext cx="12222104" cy="6873471"/>
          </a:xfrm>
          <a:prstGeom prst="rect">
            <a:avLst/>
          </a:prstGeom>
          <a:solidFill>
            <a:schemeClr val="tx1">
              <a:alpha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5970" tIns="47985" rIns="47985" bIns="47985" numCol="1" rtlCol="0" anchor="t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599" dirty="0" err="1">
              <a:solidFill>
                <a:srgbClr val="000000"/>
              </a:solidFill>
              <a:latin typeface="Delivery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535120" y="255515"/>
            <a:ext cx="8767858" cy="820484"/>
          </a:xfrm>
        </p:spPr>
        <p:txBody>
          <a:bodyPr/>
          <a:lstStyle/>
          <a:p>
            <a:pPr defTabSz="1218804">
              <a:defRPr/>
            </a:pPr>
            <a:r>
              <a:rPr lang="en-US" sz="3199" dirty="0" smtClean="0">
                <a:solidFill>
                  <a:srgbClr val="FFFFFF"/>
                </a:solidFill>
                <a:latin typeface="Delivery Arabic Cd Black" panose="020F0906020204020204" pitchFamily="34" charset="-78"/>
                <a:cs typeface="Delivery Arabic Cd Black" panose="020F0906020204020204" pitchFamily="34" charset="-78"/>
              </a:rPr>
              <a:t>WHY </a:t>
            </a:r>
            <a:r>
              <a:rPr lang="en-US" sz="3199" dirty="0" smtClean="0">
                <a:solidFill>
                  <a:srgbClr val="FFCC00"/>
                </a:solidFill>
                <a:latin typeface="Delivery Arabic Cd Black" panose="020F0906020204020204" pitchFamily="34" charset="-78"/>
                <a:cs typeface="Delivery Arabic Cd Black" panose="020F0906020204020204" pitchFamily="34" charset="-78"/>
              </a:rPr>
              <a:t>NOW?</a:t>
            </a:r>
            <a:endParaRPr lang="en-US" sz="3199" dirty="0">
              <a:solidFill>
                <a:srgbClr val="FFCC00"/>
              </a:solidFill>
              <a:latin typeface="Delivery Arabic Cd Black" panose="020F0906020204020204" pitchFamily="34" charset="-78"/>
              <a:cs typeface="Delivery Arabic Cd Black" panose="020F0906020204020204" pitchFamily="34" charset="-78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80043E-3B23-416E-85CF-8B1FD82508F3}"/>
              </a:ext>
            </a:extLst>
          </p:cNvPr>
          <p:cNvSpPr>
            <a:spLocks noGrp="1"/>
          </p:cNvSpPr>
          <p:nvPr>
            <p:ph type="body" sz="quarter" idx="2"/>
          </p:nvPr>
        </p:nvSpPr>
        <p:spPr bwMode="gray">
          <a:xfrm>
            <a:off x="553711" y="1061"/>
            <a:ext cx="27252" cy="247628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15" name="Rechteck 5">
            <a:extLst>
              <a:ext uri="{FF2B5EF4-FFF2-40B4-BE49-F238E27FC236}">
                <a16:creationId xmlns:a16="http://schemas.microsoft.com/office/drawing/2014/main" id="{741FC0B6-0516-794C-BE5B-E241B9A4BDCF}"/>
              </a:ext>
            </a:extLst>
          </p:cNvPr>
          <p:cNvSpPr/>
          <p:nvPr/>
        </p:nvSpPr>
        <p:spPr bwMode="hidden">
          <a:xfrm rot="16200000">
            <a:off x="10304221" y="-796697"/>
            <a:ext cx="977216" cy="279459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91941" tIns="191941" rIns="191941" bIns="191941" numCol="1" rtlCol="0" anchor="ctr" anchorCtr="0" compatLnSpc="1">
            <a:prstTxWarp prst="textNoShape">
              <a:avLst/>
            </a:prstTxWarp>
          </a:bodyPr>
          <a:lstStyle/>
          <a:p>
            <a:pPr defTabSz="1326619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66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6" name="Grafik 7">
            <a:extLst>
              <a:ext uri="{FF2B5EF4-FFF2-40B4-BE49-F238E27FC236}">
                <a16:creationId xmlns:a16="http://schemas.microsoft.com/office/drawing/2014/main" id="{296CC859-77EF-6B46-B7DD-85DD99C2BB6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4584" y="311491"/>
            <a:ext cx="1383661" cy="590587"/>
          </a:xfrm>
          <a:prstGeom prst="rect">
            <a:avLst/>
          </a:prstGeom>
        </p:spPr>
      </p:pic>
      <p:grpSp>
        <p:nvGrpSpPr>
          <p:cNvPr id="27" name="Group 26"/>
          <p:cNvGrpSpPr/>
          <p:nvPr/>
        </p:nvGrpSpPr>
        <p:grpSpPr>
          <a:xfrm>
            <a:off x="1530182" y="2351931"/>
            <a:ext cx="2001319" cy="2305489"/>
            <a:chOff x="509638" y="2592006"/>
            <a:chExt cx="2001937" cy="2306203"/>
          </a:xfrm>
        </p:grpSpPr>
        <p:sp>
          <p:nvSpPr>
            <p:cNvPr id="28" name="object 12">
              <a:extLst>
                <a:ext uri="{FF2B5EF4-FFF2-40B4-BE49-F238E27FC236}">
                  <a16:creationId xmlns:a16="http://schemas.microsoft.com/office/drawing/2014/main" id="{3669A7E2-F602-4E6E-BB9D-304170039F56}"/>
                </a:ext>
              </a:extLst>
            </p:cNvPr>
            <p:cNvSpPr/>
            <p:nvPr/>
          </p:nvSpPr>
          <p:spPr>
            <a:xfrm>
              <a:off x="509638" y="2592006"/>
              <a:ext cx="2001937" cy="2306203"/>
            </a:xfrm>
            <a:custGeom>
              <a:avLst/>
              <a:gdLst/>
              <a:ahLst/>
              <a:cxnLst/>
              <a:rect l="l" t="t" r="r" b="b"/>
              <a:pathLst>
                <a:path w="1620520" h="2592070">
                  <a:moveTo>
                    <a:pt x="1619999" y="0"/>
                  </a:moveTo>
                  <a:lnTo>
                    <a:pt x="0" y="0"/>
                  </a:lnTo>
                  <a:lnTo>
                    <a:pt x="0" y="2591993"/>
                  </a:lnTo>
                  <a:lnTo>
                    <a:pt x="1619999" y="2591993"/>
                  </a:lnTo>
                  <a:lnTo>
                    <a:pt x="1619999" y="0"/>
                  </a:lnTo>
                  <a:close/>
                </a:path>
              </a:pathLst>
            </a:custGeom>
            <a:solidFill>
              <a:srgbClr val="FFFFFF">
                <a:alpha val="69999"/>
              </a:srgbClr>
            </a:solidFill>
          </p:spPr>
          <p:txBody>
            <a:bodyPr wrap="square" lIns="0" tIns="0" rIns="0" bIns="0" rtlCol="0"/>
            <a:lstStyle/>
            <a:p>
              <a:endParaRPr sz="2399">
                <a:solidFill>
                  <a:prstClr val="black"/>
                </a:solidFill>
                <a:latin typeface="Delivery"/>
              </a:endParaRPr>
            </a:p>
          </p:txBody>
        </p:sp>
        <p:sp>
          <p:nvSpPr>
            <p:cNvPr id="29" name="object 13">
              <a:extLst>
                <a:ext uri="{FF2B5EF4-FFF2-40B4-BE49-F238E27FC236}">
                  <a16:creationId xmlns:a16="http://schemas.microsoft.com/office/drawing/2014/main" id="{54D73CF1-4EE9-4712-AC44-535966D929D6}"/>
                </a:ext>
              </a:extLst>
            </p:cNvPr>
            <p:cNvSpPr txBox="1"/>
            <p:nvPr/>
          </p:nvSpPr>
          <p:spPr>
            <a:xfrm>
              <a:off x="678509" y="3760493"/>
              <a:ext cx="1664194" cy="751396"/>
            </a:xfrm>
            <a:prstGeom prst="rect">
              <a:avLst/>
            </a:prstGeom>
          </p:spPr>
          <p:txBody>
            <a:bodyPr vert="horz" wrap="square" lIns="0" tIns="12696" rIns="0" bIns="0" rtlCol="0">
              <a:spAutoFit/>
            </a:bodyPr>
            <a:lstStyle/>
            <a:p>
              <a:pPr algn="ctr">
                <a:spcBef>
                  <a:spcPts val="100"/>
                </a:spcBef>
              </a:pPr>
              <a:r>
                <a:rPr lang="de-DE" sz="4798" b="1" spc="-289" dirty="0" smtClean="0">
                  <a:solidFill>
                    <a:srgbClr val="D40511"/>
                  </a:solidFill>
                  <a:latin typeface="Delivery"/>
                  <a:cs typeface="Trebuchet MS"/>
                </a:rPr>
                <a:t>16 </a:t>
              </a:r>
              <a:r>
                <a:rPr lang="de-DE" sz="4798" b="1" spc="-289" dirty="0" smtClean="0">
                  <a:solidFill>
                    <a:srgbClr val="D40511"/>
                  </a:solidFill>
                  <a:latin typeface="Delivery"/>
                  <a:cs typeface="Trebuchet MS"/>
                </a:rPr>
                <a:t>Bn</a:t>
              </a:r>
              <a:endParaRPr sz="4798" dirty="0">
                <a:solidFill>
                  <a:prstClr val="black"/>
                </a:solidFill>
                <a:latin typeface="Delivery"/>
                <a:cs typeface="Trebuchet MS"/>
              </a:endParaRPr>
            </a:p>
          </p:txBody>
        </p:sp>
        <p:sp>
          <p:nvSpPr>
            <p:cNvPr id="30" name="object 14">
              <a:extLst>
                <a:ext uri="{FF2B5EF4-FFF2-40B4-BE49-F238E27FC236}">
                  <a16:creationId xmlns:a16="http://schemas.microsoft.com/office/drawing/2014/main" id="{6278368E-78E1-4B40-80BE-79BE3ED9D0E9}"/>
                </a:ext>
              </a:extLst>
            </p:cNvPr>
            <p:cNvSpPr txBox="1"/>
            <p:nvPr/>
          </p:nvSpPr>
          <p:spPr>
            <a:xfrm>
              <a:off x="568935" y="4371433"/>
              <a:ext cx="1890754" cy="463720"/>
            </a:xfrm>
            <a:prstGeom prst="rect">
              <a:avLst/>
            </a:prstGeom>
          </p:spPr>
          <p:txBody>
            <a:bodyPr vert="horz" wrap="square" lIns="0" tIns="39993" rIns="0" bIns="0" rtlCol="0">
              <a:spAutoFit/>
            </a:bodyPr>
            <a:lstStyle/>
            <a:p>
              <a:pPr marR="5078" algn="ctr">
                <a:lnSpc>
                  <a:spcPts val="1080"/>
                </a:lnSpc>
                <a:spcBef>
                  <a:spcPts val="315"/>
                </a:spcBef>
              </a:pPr>
              <a:r>
                <a:rPr lang="de-DE" sz="1200" b="1" spc="-35" dirty="0" smtClean="0">
                  <a:solidFill>
                    <a:prstClr val="black"/>
                  </a:solidFill>
                  <a:latin typeface="Delivery"/>
                  <a:cs typeface="Trebuchet MS"/>
                </a:rPr>
                <a:t>2019 </a:t>
              </a:r>
              <a:r>
                <a:rPr lang="de-DE" sz="1200" b="1" spc="-35" dirty="0" smtClean="0">
                  <a:solidFill>
                    <a:prstClr val="black"/>
                  </a:solidFill>
                  <a:latin typeface="Delivery"/>
                  <a:cs typeface="Trebuchet MS"/>
                </a:rPr>
                <a:t>MARKET SIZE FOR </a:t>
              </a:r>
              <a:r>
                <a:rPr lang="de-DE" sz="1200" b="1" spc="-35" dirty="0" smtClean="0">
                  <a:solidFill>
                    <a:prstClr val="black"/>
                  </a:solidFill>
                  <a:latin typeface="Delivery"/>
                  <a:cs typeface="Trebuchet MS"/>
                </a:rPr>
                <a:t>SUPPLY CHAIN MANAGEMENT PLATFORMS</a:t>
              </a:r>
              <a:endParaRPr sz="1200" dirty="0">
                <a:solidFill>
                  <a:prstClr val="black"/>
                </a:solidFill>
                <a:latin typeface="Delivery"/>
                <a:cs typeface="Trebuchet MS"/>
              </a:endParaRPr>
            </a:p>
          </p:txBody>
        </p:sp>
        <p:sp>
          <p:nvSpPr>
            <p:cNvPr id="32" name="object 16">
              <a:extLst>
                <a:ext uri="{FF2B5EF4-FFF2-40B4-BE49-F238E27FC236}">
                  <a16:creationId xmlns:a16="http://schemas.microsoft.com/office/drawing/2014/main" id="{98DA8F72-AE6D-4357-BFD2-FCBA4F0BD498}"/>
                </a:ext>
              </a:extLst>
            </p:cNvPr>
            <p:cNvSpPr/>
            <p:nvPr/>
          </p:nvSpPr>
          <p:spPr>
            <a:xfrm>
              <a:off x="963714" y="2761453"/>
              <a:ext cx="1067435" cy="1067435"/>
            </a:xfrm>
            <a:custGeom>
              <a:avLst/>
              <a:gdLst/>
              <a:ahLst/>
              <a:cxnLst/>
              <a:rect l="l" t="t" r="r" b="b"/>
              <a:pathLst>
                <a:path w="1067435" h="1067435">
                  <a:moveTo>
                    <a:pt x="533514" y="0"/>
                  </a:moveTo>
                  <a:lnTo>
                    <a:pt x="484953" y="2180"/>
                  </a:lnTo>
                  <a:lnTo>
                    <a:pt x="437614" y="8596"/>
                  </a:lnTo>
                  <a:lnTo>
                    <a:pt x="391684" y="19058"/>
                  </a:lnTo>
                  <a:lnTo>
                    <a:pt x="347353" y="33379"/>
                  </a:lnTo>
                  <a:lnTo>
                    <a:pt x="304808" y="51370"/>
                  </a:lnTo>
                  <a:lnTo>
                    <a:pt x="264239" y="72843"/>
                  </a:lnTo>
                  <a:lnTo>
                    <a:pt x="225832" y="97609"/>
                  </a:lnTo>
                  <a:lnTo>
                    <a:pt x="189777" y="125480"/>
                  </a:lnTo>
                  <a:lnTo>
                    <a:pt x="156262" y="156268"/>
                  </a:lnTo>
                  <a:lnTo>
                    <a:pt x="125475" y="189784"/>
                  </a:lnTo>
                  <a:lnTo>
                    <a:pt x="97605" y="225840"/>
                  </a:lnTo>
                  <a:lnTo>
                    <a:pt x="72840" y="264248"/>
                  </a:lnTo>
                  <a:lnTo>
                    <a:pt x="51368" y="304819"/>
                  </a:lnTo>
                  <a:lnTo>
                    <a:pt x="33377" y="347364"/>
                  </a:lnTo>
                  <a:lnTo>
                    <a:pt x="19057" y="391696"/>
                  </a:lnTo>
                  <a:lnTo>
                    <a:pt x="8595" y="437626"/>
                  </a:lnTo>
                  <a:lnTo>
                    <a:pt x="2180" y="484966"/>
                  </a:lnTo>
                  <a:lnTo>
                    <a:pt x="0" y="533527"/>
                  </a:lnTo>
                  <a:lnTo>
                    <a:pt x="2180" y="582087"/>
                  </a:lnTo>
                  <a:lnTo>
                    <a:pt x="8595" y="629427"/>
                  </a:lnTo>
                  <a:lnTo>
                    <a:pt x="19057" y="675356"/>
                  </a:lnTo>
                  <a:lnTo>
                    <a:pt x="33377" y="719687"/>
                  </a:lnTo>
                  <a:lnTo>
                    <a:pt x="51368" y="762232"/>
                  </a:lnTo>
                  <a:lnTo>
                    <a:pt x="72840" y="802802"/>
                  </a:lnTo>
                  <a:lnTo>
                    <a:pt x="97605" y="841208"/>
                  </a:lnTo>
                  <a:lnTo>
                    <a:pt x="125475" y="877263"/>
                  </a:lnTo>
                  <a:lnTo>
                    <a:pt x="156262" y="910778"/>
                  </a:lnTo>
                  <a:lnTo>
                    <a:pt x="189777" y="941565"/>
                  </a:lnTo>
                  <a:lnTo>
                    <a:pt x="225832" y="969435"/>
                  </a:lnTo>
                  <a:lnTo>
                    <a:pt x="264239" y="994201"/>
                  </a:lnTo>
                  <a:lnTo>
                    <a:pt x="304808" y="1015673"/>
                  </a:lnTo>
                  <a:lnTo>
                    <a:pt x="347353" y="1033663"/>
                  </a:lnTo>
                  <a:lnTo>
                    <a:pt x="391684" y="1047983"/>
                  </a:lnTo>
                  <a:lnTo>
                    <a:pt x="437614" y="1058445"/>
                  </a:lnTo>
                  <a:lnTo>
                    <a:pt x="484953" y="1064861"/>
                  </a:lnTo>
                  <a:lnTo>
                    <a:pt x="533514" y="1067041"/>
                  </a:lnTo>
                  <a:lnTo>
                    <a:pt x="582075" y="1064861"/>
                  </a:lnTo>
                  <a:lnTo>
                    <a:pt x="629414" y="1058445"/>
                  </a:lnTo>
                  <a:lnTo>
                    <a:pt x="675343" y="1047983"/>
                  </a:lnTo>
                  <a:lnTo>
                    <a:pt x="719675" y="1033663"/>
                  </a:lnTo>
                  <a:lnTo>
                    <a:pt x="762219" y="1015673"/>
                  </a:lnTo>
                  <a:lnTo>
                    <a:pt x="802789" y="994201"/>
                  </a:lnTo>
                  <a:lnTo>
                    <a:pt x="841196" y="969435"/>
                  </a:lnTo>
                  <a:lnTo>
                    <a:pt x="877251" y="941565"/>
                  </a:lnTo>
                  <a:lnTo>
                    <a:pt x="910766" y="910778"/>
                  </a:lnTo>
                  <a:lnTo>
                    <a:pt x="941553" y="877263"/>
                  </a:lnTo>
                  <a:lnTo>
                    <a:pt x="969423" y="841208"/>
                  </a:lnTo>
                  <a:lnTo>
                    <a:pt x="994188" y="802802"/>
                  </a:lnTo>
                  <a:lnTo>
                    <a:pt x="1015660" y="762232"/>
                  </a:lnTo>
                  <a:lnTo>
                    <a:pt x="1033650" y="719687"/>
                  </a:lnTo>
                  <a:lnTo>
                    <a:pt x="1047971" y="675356"/>
                  </a:lnTo>
                  <a:lnTo>
                    <a:pt x="1058432" y="629427"/>
                  </a:lnTo>
                  <a:lnTo>
                    <a:pt x="1064848" y="582087"/>
                  </a:lnTo>
                  <a:lnTo>
                    <a:pt x="1067028" y="533527"/>
                  </a:lnTo>
                  <a:lnTo>
                    <a:pt x="1064848" y="484966"/>
                  </a:lnTo>
                  <a:lnTo>
                    <a:pt x="1058432" y="437626"/>
                  </a:lnTo>
                  <a:lnTo>
                    <a:pt x="1047971" y="391696"/>
                  </a:lnTo>
                  <a:lnTo>
                    <a:pt x="1033650" y="347364"/>
                  </a:lnTo>
                  <a:lnTo>
                    <a:pt x="1015660" y="304819"/>
                  </a:lnTo>
                  <a:lnTo>
                    <a:pt x="994188" y="264248"/>
                  </a:lnTo>
                  <a:lnTo>
                    <a:pt x="969423" y="225840"/>
                  </a:lnTo>
                  <a:lnTo>
                    <a:pt x="941553" y="189784"/>
                  </a:lnTo>
                  <a:lnTo>
                    <a:pt x="910766" y="156268"/>
                  </a:lnTo>
                  <a:lnTo>
                    <a:pt x="877251" y="125480"/>
                  </a:lnTo>
                  <a:lnTo>
                    <a:pt x="841196" y="97609"/>
                  </a:lnTo>
                  <a:lnTo>
                    <a:pt x="802789" y="72843"/>
                  </a:lnTo>
                  <a:lnTo>
                    <a:pt x="762219" y="51370"/>
                  </a:lnTo>
                  <a:lnTo>
                    <a:pt x="719675" y="33379"/>
                  </a:lnTo>
                  <a:lnTo>
                    <a:pt x="675343" y="19058"/>
                  </a:lnTo>
                  <a:lnTo>
                    <a:pt x="629414" y="8596"/>
                  </a:lnTo>
                  <a:lnTo>
                    <a:pt x="582075" y="2180"/>
                  </a:lnTo>
                  <a:lnTo>
                    <a:pt x="533514" y="0"/>
                  </a:lnTo>
                  <a:close/>
                </a:path>
              </a:pathLst>
            </a:custGeom>
            <a:solidFill>
              <a:srgbClr val="FFCC00"/>
            </a:solidFill>
          </p:spPr>
          <p:txBody>
            <a:bodyPr wrap="square" lIns="0" tIns="0" rIns="0" bIns="0" rtlCol="0"/>
            <a:lstStyle/>
            <a:p>
              <a:endParaRPr sz="2399">
                <a:solidFill>
                  <a:prstClr val="black"/>
                </a:solidFill>
                <a:latin typeface="Delivery"/>
              </a:endParaRPr>
            </a:p>
          </p:txBody>
        </p:sp>
      </p:grpSp>
      <p:sp>
        <p:nvSpPr>
          <p:cNvPr id="58" name="object 63">
            <a:extLst>
              <a:ext uri="{FF2B5EF4-FFF2-40B4-BE49-F238E27FC236}">
                <a16:creationId xmlns:a16="http://schemas.microsoft.com/office/drawing/2014/main" id="{2F2E7119-D099-4B9B-A8B2-DAF65D628D43}"/>
              </a:ext>
            </a:extLst>
          </p:cNvPr>
          <p:cNvSpPr/>
          <p:nvPr/>
        </p:nvSpPr>
        <p:spPr>
          <a:xfrm>
            <a:off x="7455303" y="2351930"/>
            <a:ext cx="2001319" cy="2330991"/>
          </a:xfrm>
          <a:custGeom>
            <a:avLst/>
            <a:gdLst/>
            <a:ahLst/>
            <a:cxnLst/>
            <a:rect l="l" t="t" r="r" b="b"/>
            <a:pathLst>
              <a:path w="1620520" h="2592070">
                <a:moveTo>
                  <a:pt x="1619999" y="0"/>
                </a:moveTo>
                <a:lnTo>
                  <a:pt x="0" y="0"/>
                </a:lnTo>
                <a:lnTo>
                  <a:pt x="0" y="2591993"/>
                </a:lnTo>
                <a:lnTo>
                  <a:pt x="1619999" y="2591993"/>
                </a:lnTo>
                <a:lnTo>
                  <a:pt x="1619999" y="0"/>
                </a:lnTo>
                <a:close/>
              </a:path>
            </a:pathLst>
          </a:custGeom>
          <a:solidFill>
            <a:srgbClr val="FFFFFF">
              <a:alpha val="69999"/>
            </a:srgbClr>
          </a:solidFill>
        </p:spPr>
        <p:txBody>
          <a:bodyPr wrap="square" lIns="0" tIns="0" rIns="0" bIns="0" rtlCol="0"/>
          <a:lstStyle/>
          <a:p>
            <a:endParaRPr sz="2399" dirty="0">
              <a:solidFill>
                <a:prstClr val="black"/>
              </a:solidFill>
              <a:latin typeface="Delivery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7499933" y="2521326"/>
            <a:ext cx="1855579" cy="2094765"/>
            <a:chOff x="3718957" y="2468096"/>
            <a:chExt cx="1856152" cy="2095411"/>
          </a:xfrm>
        </p:grpSpPr>
        <p:sp>
          <p:nvSpPr>
            <p:cNvPr id="36" name="object 58">
              <a:extLst>
                <a:ext uri="{FF2B5EF4-FFF2-40B4-BE49-F238E27FC236}">
                  <a16:creationId xmlns:a16="http://schemas.microsoft.com/office/drawing/2014/main" id="{814F0176-FC1D-4875-BCF5-85C89FE1920C}"/>
                </a:ext>
              </a:extLst>
            </p:cNvPr>
            <p:cNvSpPr txBox="1"/>
            <p:nvPr/>
          </p:nvSpPr>
          <p:spPr>
            <a:xfrm>
              <a:off x="3929001" y="3468110"/>
              <a:ext cx="1605623" cy="751716"/>
            </a:xfrm>
            <a:prstGeom prst="rect">
              <a:avLst/>
            </a:prstGeom>
          </p:spPr>
          <p:txBody>
            <a:bodyPr vert="horz" wrap="square" lIns="0" tIns="12696" rIns="0" bIns="0" rtlCol="0">
              <a:spAutoFit/>
            </a:bodyPr>
            <a:lstStyle/>
            <a:p>
              <a:pPr algn="ctr">
                <a:spcBef>
                  <a:spcPts val="100"/>
                </a:spcBef>
              </a:pPr>
              <a:r>
                <a:rPr lang="de-DE" sz="4800" b="1" spc="-95" dirty="0" smtClean="0">
                  <a:solidFill>
                    <a:srgbClr val="D40511"/>
                  </a:solidFill>
                  <a:latin typeface="Delivery"/>
                  <a:cs typeface="Trebuchet MS"/>
                </a:rPr>
                <a:t>90%</a:t>
              </a:r>
              <a:endParaRPr sz="4800" dirty="0">
                <a:solidFill>
                  <a:prstClr val="black"/>
                </a:solidFill>
                <a:latin typeface="Delivery"/>
                <a:cs typeface="Trebuchet MS"/>
              </a:endParaRPr>
            </a:p>
          </p:txBody>
        </p:sp>
        <p:sp>
          <p:nvSpPr>
            <p:cNvPr id="37" name="object 59">
              <a:extLst>
                <a:ext uri="{FF2B5EF4-FFF2-40B4-BE49-F238E27FC236}">
                  <a16:creationId xmlns:a16="http://schemas.microsoft.com/office/drawing/2014/main" id="{2905BA97-B012-43DC-9554-AC0F87EFA340}"/>
                </a:ext>
              </a:extLst>
            </p:cNvPr>
            <p:cNvSpPr txBox="1"/>
            <p:nvPr/>
          </p:nvSpPr>
          <p:spPr>
            <a:xfrm>
              <a:off x="3718957" y="4090423"/>
              <a:ext cx="1856152" cy="473084"/>
            </a:xfrm>
            <a:prstGeom prst="rect">
              <a:avLst/>
            </a:prstGeom>
          </p:spPr>
          <p:txBody>
            <a:bodyPr vert="horz" wrap="square" lIns="0" tIns="39993" rIns="0" bIns="0" rtlCol="0">
              <a:spAutoFit/>
            </a:bodyPr>
            <a:lstStyle/>
            <a:p>
              <a:pPr marR="5078" algn="ctr" fontAlgn="base">
                <a:lnSpc>
                  <a:spcPts val="1080"/>
                </a:lnSpc>
                <a:spcBef>
                  <a:spcPts val="315"/>
                </a:spcBef>
                <a:spcAft>
                  <a:spcPct val="0"/>
                </a:spcAft>
              </a:pPr>
              <a:r>
                <a:rPr lang="en-US" sz="1200" b="1" spc="-35" dirty="0">
                  <a:solidFill>
                    <a:prstClr val="black"/>
                  </a:solidFill>
                  <a:cs typeface="Trebuchet MS"/>
                </a:rPr>
                <a:t>INVESTMENT INTO SCM SOLUTIONS TODAY ARE CLOUD BASED</a:t>
              </a:r>
              <a:endParaRPr lang="de-DE" sz="1200" b="1" spc="-35" dirty="0">
                <a:solidFill>
                  <a:prstClr val="black"/>
                </a:solidFill>
                <a:cs typeface="Trebuchet MS"/>
              </a:endParaRPr>
            </a:p>
          </p:txBody>
        </p:sp>
        <p:sp>
          <p:nvSpPr>
            <p:cNvPr id="39" name="object 61">
              <a:extLst>
                <a:ext uri="{FF2B5EF4-FFF2-40B4-BE49-F238E27FC236}">
                  <a16:creationId xmlns:a16="http://schemas.microsoft.com/office/drawing/2014/main" id="{429DB87F-F84D-4D9B-AA47-8D1A82F67E82}"/>
                </a:ext>
              </a:extLst>
            </p:cNvPr>
            <p:cNvSpPr/>
            <p:nvPr/>
          </p:nvSpPr>
          <p:spPr>
            <a:xfrm>
              <a:off x="4160122" y="2468096"/>
              <a:ext cx="1067435" cy="1067435"/>
            </a:xfrm>
            <a:custGeom>
              <a:avLst/>
              <a:gdLst/>
              <a:ahLst/>
              <a:cxnLst/>
              <a:rect l="l" t="t" r="r" b="b"/>
              <a:pathLst>
                <a:path w="1067434" h="1067435">
                  <a:moveTo>
                    <a:pt x="533514" y="0"/>
                  </a:moveTo>
                  <a:lnTo>
                    <a:pt x="484953" y="2180"/>
                  </a:lnTo>
                  <a:lnTo>
                    <a:pt x="437614" y="8596"/>
                  </a:lnTo>
                  <a:lnTo>
                    <a:pt x="391684" y="19058"/>
                  </a:lnTo>
                  <a:lnTo>
                    <a:pt x="347353" y="33379"/>
                  </a:lnTo>
                  <a:lnTo>
                    <a:pt x="304808" y="51370"/>
                  </a:lnTo>
                  <a:lnTo>
                    <a:pt x="264239" y="72843"/>
                  </a:lnTo>
                  <a:lnTo>
                    <a:pt x="225832" y="97609"/>
                  </a:lnTo>
                  <a:lnTo>
                    <a:pt x="189777" y="125480"/>
                  </a:lnTo>
                  <a:lnTo>
                    <a:pt x="156262" y="156268"/>
                  </a:lnTo>
                  <a:lnTo>
                    <a:pt x="125475" y="189784"/>
                  </a:lnTo>
                  <a:lnTo>
                    <a:pt x="97605" y="225840"/>
                  </a:lnTo>
                  <a:lnTo>
                    <a:pt x="72840" y="264248"/>
                  </a:lnTo>
                  <a:lnTo>
                    <a:pt x="51368" y="304819"/>
                  </a:lnTo>
                  <a:lnTo>
                    <a:pt x="33377" y="347364"/>
                  </a:lnTo>
                  <a:lnTo>
                    <a:pt x="19057" y="391696"/>
                  </a:lnTo>
                  <a:lnTo>
                    <a:pt x="8595" y="437626"/>
                  </a:lnTo>
                  <a:lnTo>
                    <a:pt x="2180" y="484966"/>
                  </a:lnTo>
                  <a:lnTo>
                    <a:pt x="0" y="533527"/>
                  </a:lnTo>
                  <a:lnTo>
                    <a:pt x="2180" y="582087"/>
                  </a:lnTo>
                  <a:lnTo>
                    <a:pt x="8595" y="629427"/>
                  </a:lnTo>
                  <a:lnTo>
                    <a:pt x="19057" y="675356"/>
                  </a:lnTo>
                  <a:lnTo>
                    <a:pt x="33377" y="719687"/>
                  </a:lnTo>
                  <a:lnTo>
                    <a:pt x="51368" y="762232"/>
                  </a:lnTo>
                  <a:lnTo>
                    <a:pt x="72840" y="802802"/>
                  </a:lnTo>
                  <a:lnTo>
                    <a:pt x="97605" y="841208"/>
                  </a:lnTo>
                  <a:lnTo>
                    <a:pt x="125475" y="877263"/>
                  </a:lnTo>
                  <a:lnTo>
                    <a:pt x="156262" y="910778"/>
                  </a:lnTo>
                  <a:lnTo>
                    <a:pt x="189777" y="941565"/>
                  </a:lnTo>
                  <a:lnTo>
                    <a:pt x="225832" y="969435"/>
                  </a:lnTo>
                  <a:lnTo>
                    <a:pt x="264239" y="994201"/>
                  </a:lnTo>
                  <a:lnTo>
                    <a:pt x="304808" y="1015673"/>
                  </a:lnTo>
                  <a:lnTo>
                    <a:pt x="347353" y="1033663"/>
                  </a:lnTo>
                  <a:lnTo>
                    <a:pt x="391684" y="1047983"/>
                  </a:lnTo>
                  <a:lnTo>
                    <a:pt x="437614" y="1058445"/>
                  </a:lnTo>
                  <a:lnTo>
                    <a:pt x="484953" y="1064861"/>
                  </a:lnTo>
                  <a:lnTo>
                    <a:pt x="533514" y="1067041"/>
                  </a:lnTo>
                  <a:lnTo>
                    <a:pt x="582075" y="1064861"/>
                  </a:lnTo>
                  <a:lnTo>
                    <a:pt x="629414" y="1058445"/>
                  </a:lnTo>
                  <a:lnTo>
                    <a:pt x="675343" y="1047983"/>
                  </a:lnTo>
                  <a:lnTo>
                    <a:pt x="719675" y="1033663"/>
                  </a:lnTo>
                  <a:lnTo>
                    <a:pt x="762219" y="1015673"/>
                  </a:lnTo>
                  <a:lnTo>
                    <a:pt x="802789" y="994201"/>
                  </a:lnTo>
                  <a:lnTo>
                    <a:pt x="841196" y="969435"/>
                  </a:lnTo>
                  <a:lnTo>
                    <a:pt x="877251" y="941565"/>
                  </a:lnTo>
                  <a:lnTo>
                    <a:pt x="910766" y="910778"/>
                  </a:lnTo>
                  <a:lnTo>
                    <a:pt x="941553" y="877263"/>
                  </a:lnTo>
                  <a:lnTo>
                    <a:pt x="969423" y="841208"/>
                  </a:lnTo>
                  <a:lnTo>
                    <a:pt x="994188" y="802802"/>
                  </a:lnTo>
                  <a:lnTo>
                    <a:pt x="1015660" y="762232"/>
                  </a:lnTo>
                  <a:lnTo>
                    <a:pt x="1033650" y="719687"/>
                  </a:lnTo>
                  <a:lnTo>
                    <a:pt x="1047971" y="675356"/>
                  </a:lnTo>
                  <a:lnTo>
                    <a:pt x="1058432" y="629427"/>
                  </a:lnTo>
                  <a:lnTo>
                    <a:pt x="1064848" y="582087"/>
                  </a:lnTo>
                  <a:lnTo>
                    <a:pt x="1067028" y="533527"/>
                  </a:lnTo>
                  <a:lnTo>
                    <a:pt x="1064848" y="484966"/>
                  </a:lnTo>
                  <a:lnTo>
                    <a:pt x="1058432" y="437626"/>
                  </a:lnTo>
                  <a:lnTo>
                    <a:pt x="1047971" y="391696"/>
                  </a:lnTo>
                  <a:lnTo>
                    <a:pt x="1033650" y="347364"/>
                  </a:lnTo>
                  <a:lnTo>
                    <a:pt x="1015660" y="304819"/>
                  </a:lnTo>
                  <a:lnTo>
                    <a:pt x="994188" y="264248"/>
                  </a:lnTo>
                  <a:lnTo>
                    <a:pt x="969423" y="225840"/>
                  </a:lnTo>
                  <a:lnTo>
                    <a:pt x="941553" y="189784"/>
                  </a:lnTo>
                  <a:lnTo>
                    <a:pt x="910766" y="156268"/>
                  </a:lnTo>
                  <a:lnTo>
                    <a:pt x="877251" y="125480"/>
                  </a:lnTo>
                  <a:lnTo>
                    <a:pt x="841196" y="97609"/>
                  </a:lnTo>
                  <a:lnTo>
                    <a:pt x="802789" y="72843"/>
                  </a:lnTo>
                  <a:lnTo>
                    <a:pt x="762219" y="51370"/>
                  </a:lnTo>
                  <a:lnTo>
                    <a:pt x="719675" y="33379"/>
                  </a:lnTo>
                  <a:lnTo>
                    <a:pt x="675343" y="19058"/>
                  </a:lnTo>
                  <a:lnTo>
                    <a:pt x="629414" y="8596"/>
                  </a:lnTo>
                  <a:lnTo>
                    <a:pt x="582075" y="2180"/>
                  </a:lnTo>
                  <a:lnTo>
                    <a:pt x="533514" y="0"/>
                  </a:lnTo>
                  <a:close/>
                </a:path>
              </a:pathLst>
            </a:custGeom>
            <a:solidFill>
              <a:srgbClr val="FFCC00"/>
            </a:solidFill>
          </p:spPr>
          <p:txBody>
            <a:bodyPr wrap="square" lIns="0" tIns="0" rIns="0" bIns="0" rtlCol="0"/>
            <a:lstStyle/>
            <a:p>
              <a:endParaRPr sz="2399">
                <a:solidFill>
                  <a:prstClr val="black"/>
                </a:solidFill>
                <a:latin typeface="Delivery"/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4469877" y="2351930"/>
            <a:ext cx="2001319" cy="2330991"/>
            <a:chOff x="7278821" y="2326567"/>
            <a:chExt cx="2001937" cy="2331710"/>
          </a:xfrm>
        </p:grpSpPr>
        <p:sp>
          <p:nvSpPr>
            <p:cNvPr id="42" name="object 63">
              <a:extLst>
                <a:ext uri="{FF2B5EF4-FFF2-40B4-BE49-F238E27FC236}">
                  <a16:creationId xmlns:a16="http://schemas.microsoft.com/office/drawing/2014/main" id="{2F2E7119-D099-4B9B-A8B2-DAF65D628D43}"/>
                </a:ext>
              </a:extLst>
            </p:cNvPr>
            <p:cNvSpPr/>
            <p:nvPr/>
          </p:nvSpPr>
          <p:spPr>
            <a:xfrm>
              <a:off x="7278821" y="2326567"/>
              <a:ext cx="2001937" cy="2331710"/>
            </a:xfrm>
            <a:custGeom>
              <a:avLst/>
              <a:gdLst/>
              <a:ahLst/>
              <a:cxnLst/>
              <a:rect l="l" t="t" r="r" b="b"/>
              <a:pathLst>
                <a:path w="1620520" h="2592070">
                  <a:moveTo>
                    <a:pt x="1619999" y="0"/>
                  </a:moveTo>
                  <a:lnTo>
                    <a:pt x="0" y="0"/>
                  </a:lnTo>
                  <a:lnTo>
                    <a:pt x="0" y="2591993"/>
                  </a:lnTo>
                  <a:lnTo>
                    <a:pt x="1619999" y="2591993"/>
                  </a:lnTo>
                  <a:lnTo>
                    <a:pt x="1619999" y="0"/>
                  </a:lnTo>
                  <a:close/>
                </a:path>
              </a:pathLst>
            </a:custGeom>
            <a:solidFill>
              <a:srgbClr val="FFFFFF">
                <a:alpha val="69999"/>
              </a:srgbClr>
            </a:solidFill>
          </p:spPr>
          <p:txBody>
            <a:bodyPr wrap="square" lIns="0" tIns="0" rIns="0" bIns="0" rtlCol="0"/>
            <a:lstStyle/>
            <a:p>
              <a:endParaRPr sz="2399" dirty="0">
                <a:solidFill>
                  <a:prstClr val="black"/>
                </a:solidFill>
                <a:latin typeface="Delivery"/>
              </a:endParaRPr>
            </a:p>
          </p:txBody>
        </p:sp>
        <p:sp>
          <p:nvSpPr>
            <p:cNvPr id="43" name="object 64">
              <a:extLst>
                <a:ext uri="{FF2B5EF4-FFF2-40B4-BE49-F238E27FC236}">
                  <a16:creationId xmlns:a16="http://schemas.microsoft.com/office/drawing/2014/main" id="{2D22B869-7128-4BAC-9BCA-32261A6956FB}"/>
                </a:ext>
              </a:extLst>
            </p:cNvPr>
            <p:cNvSpPr txBox="1"/>
            <p:nvPr/>
          </p:nvSpPr>
          <p:spPr>
            <a:xfrm>
              <a:off x="7316413" y="3495052"/>
              <a:ext cx="1930387" cy="751396"/>
            </a:xfrm>
            <a:prstGeom prst="rect">
              <a:avLst/>
            </a:prstGeom>
          </p:spPr>
          <p:txBody>
            <a:bodyPr vert="horz" wrap="square" lIns="0" tIns="12696" rIns="0" bIns="0" rtlCol="0">
              <a:spAutoFit/>
            </a:bodyPr>
            <a:lstStyle/>
            <a:p>
              <a:pPr algn="ctr">
                <a:spcBef>
                  <a:spcPts val="100"/>
                </a:spcBef>
              </a:pPr>
              <a:r>
                <a:rPr lang="de-DE" sz="4798" b="1" spc="45" dirty="0" smtClean="0">
                  <a:solidFill>
                    <a:srgbClr val="D40511"/>
                  </a:solidFill>
                  <a:latin typeface="Delivery"/>
                  <a:cs typeface="Trebuchet MS"/>
                </a:rPr>
                <a:t>11.2%</a:t>
              </a:r>
              <a:endParaRPr sz="4798" dirty="0">
                <a:solidFill>
                  <a:prstClr val="black"/>
                </a:solidFill>
                <a:latin typeface="Delivery"/>
                <a:cs typeface="Trebuchet MS"/>
              </a:endParaRPr>
            </a:p>
          </p:txBody>
        </p:sp>
        <p:sp>
          <p:nvSpPr>
            <p:cNvPr id="44" name="object 65">
              <a:extLst>
                <a:ext uri="{FF2B5EF4-FFF2-40B4-BE49-F238E27FC236}">
                  <a16:creationId xmlns:a16="http://schemas.microsoft.com/office/drawing/2014/main" id="{57E4AE63-B0B7-461D-BE0D-1EEED6936814}"/>
                </a:ext>
              </a:extLst>
            </p:cNvPr>
            <p:cNvSpPr txBox="1"/>
            <p:nvPr/>
          </p:nvSpPr>
          <p:spPr>
            <a:xfrm>
              <a:off x="7350371" y="4107475"/>
              <a:ext cx="1871346" cy="463719"/>
            </a:xfrm>
            <a:prstGeom prst="rect">
              <a:avLst/>
            </a:prstGeom>
          </p:spPr>
          <p:txBody>
            <a:bodyPr vert="horz" wrap="square" lIns="0" tIns="39993" rIns="0" bIns="0" rtlCol="0">
              <a:spAutoFit/>
            </a:bodyPr>
            <a:lstStyle/>
            <a:p>
              <a:pPr marR="5078" algn="ctr" fontAlgn="base">
                <a:lnSpc>
                  <a:spcPts val="1080"/>
                </a:lnSpc>
                <a:spcBef>
                  <a:spcPts val="315"/>
                </a:spcBef>
                <a:spcAft>
                  <a:spcPct val="0"/>
                </a:spcAft>
              </a:pPr>
              <a:r>
                <a:rPr lang="en-US" sz="1200" b="1" spc="-35" dirty="0" smtClean="0">
                  <a:solidFill>
                    <a:prstClr val="black"/>
                  </a:solidFill>
                  <a:latin typeface="Delivery"/>
                  <a:cs typeface="Trebuchet MS"/>
                </a:rPr>
                <a:t>CAGR THROUGH 2027 FOR CLOUD-BASED SCM PLATFORMS</a:t>
              </a:r>
              <a:endParaRPr lang="de-DE" sz="1200" b="1" spc="-35" dirty="0">
                <a:solidFill>
                  <a:prstClr val="black"/>
                </a:solidFill>
                <a:latin typeface="Delivery"/>
                <a:cs typeface="Trebuchet MS"/>
              </a:endParaRP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7733616" y="2496014"/>
              <a:ext cx="1067435" cy="1067435"/>
              <a:chOff x="7733616" y="2496014"/>
              <a:chExt cx="1067435" cy="1067435"/>
            </a:xfrm>
          </p:grpSpPr>
          <p:sp>
            <p:nvSpPr>
              <p:cNvPr id="46" name="object 67">
                <a:extLst>
                  <a:ext uri="{FF2B5EF4-FFF2-40B4-BE49-F238E27FC236}">
                    <a16:creationId xmlns:a16="http://schemas.microsoft.com/office/drawing/2014/main" id="{B1232420-7D60-433D-9512-F90FA6CDE2AC}"/>
                  </a:ext>
                </a:extLst>
              </p:cNvPr>
              <p:cNvSpPr/>
              <p:nvPr/>
            </p:nvSpPr>
            <p:spPr>
              <a:xfrm>
                <a:off x="7733616" y="2496014"/>
                <a:ext cx="1067435" cy="1067435"/>
              </a:xfrm>
              <a:custGeom>
                <a:avLst/>
                <a:gdLst/>
                <a:ahLst/>
                <a:cxnLst/>
                <a:rect l="l" t="t" r="r" b="b"/>
                <a:pathLst>
                  <a:path w="1067434" h="1067435">
                    <a:moveTo>
                      <a:pt x="533514" y="0"/>
                    </a:moveTo>
                    <a:lnTo>
                      <a:pt x="484953" y="2180"/>
                    </a:lnTo>
                    <a:lnTo>
                      <a:pt x="437614" y="8596"/>
                    </a:lnTo>
                    <a:lnTo>
                      <a:pt x="391684" y="19058"/>
                    </a:lnTo>
                    <a:lnTo>
                      <a:pt x="347353" y="33379"/>
                    </a:lnTo>
                    <a:lnTo>
                      <a:pt x="304808" y="51370"/>
                    </a:lnTo>
                    <a:lnTo>
                      <a:pt x="264239" y="72843"/>
                    </a:lnTo>
                    <a:lnTo>
                      <a:pt x="225832" y="97609"/>
                    </a:lnTo>
                    <a:lnTo>
                      <a:pt x="189777" y="125480"/>
                    </a:lnTo>
                    <a:lnTo>
                      <a:pt x="156262" y="156268"/>
                    </a:lnTo>
                    <a:lnTo>
                      <a:pt x="125475" y="189784"/>
                    </a:lnTo>
                    <a:lnTo>
                      <a:pt x="97605" y="225840"/>
                    </a:lnTo>
                    <a:lnTo>
                      <a:pt x="72840" y="264248"/>
                    </a:lnTo>
                    <a:lnTo>
                      <a:pt x="51368" y="304819"/>
                    </a:lnTo>
                    <a:lnTo>
                      <a:pt x="33377" y="347364"/>
                    </a:lnTo>
                    <a:lnTo>
                      <a:pt x="19057" y="391696"/>
                    </a:lnTo>
                    <a:lnTo>
                      <a:pt x="8595" y="437626"/>
                    </a:lnTo>
                    <a:lnTo>
                      <a:pt x="2180" y="484966"/>
                    </a:lnTo>
                    <a:lnTo>
                      <a:pt x="0" y="533527"/>
                    </a:lnTo>
                    <a:lnTo>
                      <a:pt x="2180" y="582087"/>
                    </a:lnTo>
                    <a:lnTo>
                      <a:pt x="8595" y="629427"/>
                    </a:lnTo>
                    <a:lnTo>
                      <a:pt x="19057" y="675356"/>
                    </a:lnTo>
                    <a:lnTo>
                      <a:pt x="33377" y="719687"/>
                    </a:lnTo>
                    <a:lnTo>
                      <a:pt x="51368" y="762232"/>
                    </a:lnTo>
                    <a:lnTo>
                      <a:pt x="72840" y="802802"/>
                    </a:lnTo>
                    <a:lnTo>
                      <a:pt x="97605" y="841208"/>
                    </a:lnTo>
                    <a:lnTo>
                      <a:pt x="125475" y="877263"/>
                    </a:lnTo>
                    <a:lnTo>
                      <a:pt x="156262" y="910778"/>
                    </a:lnTo>
                    <a:lnTo>
                      <a:pt x="189777" y="941565"/>
                    </a:lnTo>
                    <a:lnTo>
                      <a:pt x="225832" y="969435"/>
                    </a:lnTo>
                    <a:lnTo>
                      <a:pt x="264239" y="994201"/>
                    </a:lnTo>
                    <a:lnTo>
                      <a:pt x="304808" y="1015673"/>
                    </a:lnTo>
                    <a:lnTo>
                      <a:pt x="347353" y="1033663"/>
                    </a:lnTo>
                    <a:lnTo>
                      <a:pt x="391684" y="1047983"/>
                    </a:lnTo>
                    <a:lnTo>
                      <a:pt x="437614" y="1058445"/>
                    </a:lnTo>
                    <a:lnTo>
                      <a:pt x="484953" y="1064861"/>
                    </a:lnTo>
                    <a:lnTo>
                      <a:pt x="533514" y="1067041"/>
                    </a:lnTo>
                    <a:lnTo>
                      <a:pt x="582075" y="1064861"/>
                    </a:lnTo>
                    <a:lnTo>
                      <a:pt x="629414" y="1058445"/>
                    </a:lnTo>
                    <a:lnTo>
                      <a:pt x="675343" y="1047983"/>
                    </a:lnTo>
                    <a:lnTo>
                      <a:pt x="719675" y="1033663"/>
                    </a:lnTo>
                    <a:lnTo>
                      <a:pt x="762219" y="1015673"/>
                    </a:lnTo>
                    <a:lnTo>
                      <a:pt x="802789" y="994201"/>
                    </a:lnTo>
                    <a:lnTo>
                      <a:pt x="841196" y="969435"/>
                    </a:lnTo>
                    <a:lnTo>
                      <a:pt x="877251" y="941565"/>
                    </a:lnTo>
                    <a:lnTo>
                      <a:pt x="910766" y="910778"/>
                    </a:lnTo>
                    <a:lnTo>
                      <a:pt x="941553" y="877263"/>
                    </a:lnTo>
                    <a:lnTo>
                      <a:pt x="969423" y="841208"/>
                    </a:lnTo>
                    <a:lnTo>
                      <a:pt x="994188" y="802802"/>
                    </a:lnTo>
                    <a:lnTo>
                      <a:pt x="1015660" y="762232"/>
                    </a:lnTo>
                    <a:lnTo>
                      <a:pt x="1033650" y="719687"/>
                    </a:lnTo>
                    <a:lnTo>
                      <a:pt x="1047971" y="675356"/>
                    </a:lnTo>
                    <a:lnTo>
                      <a:pt x="1058432" y="629427"/>
                    </a:lnTo>
                    <a:lnTo>
                      <a:pt x="1064848" y="582087"/>
                    </a:lnTo>
                    <a:lnTo>
                      <a:pt x="1067028" y="533527"/>
                    </a:lnTo>
                    <a:lnTo>
                      <a:pt x="1064848" y="484966"/>
                    </a:lnTo>
                    <a:lnTo>
                      <a:pt x="1058432" y="437626"/>
                    </a:lnTo>
                    <a:lnTo>
                      <a:pt x="1047971" y="391696"/>
                    </a:lnTo>
                    <a:lnTo>
                      <a:pt x="1033650" y="347364"/>
                    </a:lnTo>
                    <a:lnTo>
                      <a:pt x="1015660" y="304819"/>
                    </a:lnTo>
                    <a:lnTo>
                      <a:pt x="994188" y="264248"/>
                    </a:lnTo>
                    <a:lnTo>
                      <a:pt x="969423" y="225840"/>
                    </a:lnTo>
                    <a:lnTo>
                      <a:pt x="941553" y="189784"/>
                    </a:lnTo>
                    <a:lnTo>
                      <a:pt x="910766" y="156268"/>
                    </a:lnTo>
                    <a:lnTo>
                      <a:pt x="877251" y="125480"/>
                    </a:lnTo>
                    <a:lnTo>
                      <a:pt x="841196" y="97609"/>
                    </a:lnTo>
                    <a:lnTo>
                      <a:pt x="802789" y="72843"/>
                    </a:lnTo>
                    <a:lnTo>
                      <a:pt x="762219" y="51370"/>
                    </a:lnTo>
                    <a:lnTo>
                      <a:pt x="719675" y="33379"/>
                    </a:lnTo>
                    <a:lnTo>
                      <a:pt x="675343" y="19058"/>
                    </a:lnTo>
                    <a:lnTo>
                      <a:pt x="629414" y="8596"/>
                    </a:lnTo>
                    <a:lnTo>
                      <a:pt x="582075" y="2180"/>
                    </a:lnTo>
                    <a:lnTo>
                      <a:pt x="533514" y="0"/>
                    </a:lnTo>
                    <a:close/>
                  </a:path>
                </a:pathLst>
              </a:custGeom>
              <a:solidFill>
                <a:srgbClr val="FFCC00"/>
              </a:solidFill>
            </p:spPr>
            <p:txBody>
              <a:bodyPr wrap="square" lIns="0" tIns="0" rIns="0" bIns="0" rtlCol="0"/>
              <a:lstStyle/>
              <a:p>
                <a:endParaRPr sz="2399">
                  <a:solidFill>
                    <a:prstClr val="black"/>
                  </a:solidFill>
                  <a:latin typeface="Delivery"/>
                </a:endParaRPr>
              </a:p>
            </p:txBody>
          </p:sp>
          <p:sp>
            <p:nvSpPr>
              <p:cNvPr id="47" name="object 68">
                <a:extLst>
                  <a:ext uri="{FF2B5EF4-FFF2-40B4-BE49-F238E27FC236}">
                    <a16:creationId xmlns:a16="http://schemas.microsoft.com/office/drawing/2014/main" id="{23103D21-6519-4663-9D97-690DC3F48C53}"/>
                  </a:ext>
                </a:extLst>
              </p:cNvPr>
              <p:cNvSpPr/>
              <p:nvPr/>
            </p:nvSpPr>
            <p:spPr>
              <a:xfrm>
                <a:off x="7940957" y="2690349"/>
                <a:ext cx="650875" cy="681355"/>
              </a:xfrm>
              <a:custGeom>
                <a:avLst/>
                <a:gdLst/>
                <a:ahLst/>
                <a:cxnLst/>
                <a:rect l="l" t="t" r="r" b="b"/>
                <a:pathLst>
                  <a:path w="650875" h="681354">
                    <a:moveTo>
                      <a:pt x="98678" y="532429"/>
                    </a:moveTo>
                    <a:lnTo>
                      <a:pt x="23513" y="532429"/>
                    </a:lnTo>
                    <a:lnTo>
                      <a:pt x="32742" y="532811"/>
                    </a:lnTo>
                    <a:lnTo>
                      <a:pt x="42087" y="534270"/>
                    </a:lnTo>
                    <a:lnTo>
                      <a:pt x="51676" y="536689"/>
                    </a:lnTo>
                    <a:lnTo>
                      <a:pt x="45821" y="542251"/>
                    </a:lnTo>
                    <a:lnTo>
                      <a:pt x="40436" y="546938"/>
                    </a:lnTo>
                    <a:lnTo>
                      <a:pt x="35547" y="552094"/>
                    </a:lnTo>
                    <a:lnTo>
                      <a:pt x="15525" y="579175"/>
                    </a:lnTo>
                    <a:lnTo>
                      <a:pt x="4502" y="608341"/>
                    </a:lnTo>
                    <a:lnTo>
                      <a:pt x="2201" y="638034"/>
                    </a:lnTo>
                    <a:lnTo>
                      <a:pt x="2187" y="640041"/>
                    </a:lnTo>
                    <a:lnTo>
                      <a:pt x="7899" y="672503"/>
                    </a:lnTo>
                    <a:lnTo>
                      <a:pt x="9969" y="679678"/>
                    </a:lnTo>
                    <a:lnTo>
                      <a:pt x="16548" y="681151"/>
                    </a:lnTo>
                    <a:lnTo>
                      <a:pt x="21755" y="675728"/>
                    </a:lnTo>
                    <a:lnTo>
                      <a:pt x="28485" y="669595"/>
                    </a:lnTo>
                    <a:lnTo>
                      <a:pt x="67590" y="650337"/>
                    </a:lnTo>
                    <a:lnTo>
                      <a:pt x="130245" y="638034"/>
                    </a:lnTo>
                    <a:lnTo>
                      <a:pt x="143378" y="634733"/>
                    </a:lnTo>
                    <a:lnTo>
                      <a:pt x="179518" y="609603"/>
                    </a:lnTo>
                    <a:lnTo>
                      <a:pt x="191895" y="580296"/>
                    </a:lnTo>
                    <a:lnTo>
                      <a:pt x="191071" y="562864"/>
                    </a:lnTo>
                    <a:lnTo>
                      <a:pt x="188539" y="553225"/>
                    </a:lnTo>
                    <a:lnTo>
                      <a:pt x="188381" y="552844"/>
                    </a:lnTo>
                    <a:lnTo>
                      <a:pt x="105482" y="552844"/>
                    </a:lnTo>
                    <a:lnTo>
                      <a:pt x="99406" y="551443"/>
                    </a:lnTo>
                    <a:lnTo>
                      <a:pt x="97449" y="545598"/>
                    </a:lnTo>
                    <a:lnTo>
                      <a:pt x="98491" y="533247"/>
                    </a:lnTo>
                    <a:lnTo>
                      <a:pt x="98678" y="532429"/>
                    </a:lnTo>
                    <a:close/>
                  </a:path>
                  <a:path w="650875" h="681354">
                    <a:moveTo>
                      <a:pt x="434383" y="503224"/>
                    </a:moveTo>
                    <a:lnTo>
                      <a:pt x="322579" y="503224"/>
                    </a:lnTo>
                    <a:lnTo>
                      <a:pt x="357606" y="587578"/>
                    </a:lnTo>
                    <a:lnTo>
                      <a:pt x="361175" y="588441"/>
                    </a:lnTo>
                    <a:lnTo>
                      <a:pt x="402945" y="546793"/>
                    </a:lnTo>
                    <a:lnTo>
                      <a:pt x="415035" y="534517"/>
                    </a:lnTo>
                    <a:lnTo>
                      <a:pt x="425203" y="522186"/>
                    </a:lnTo>
                    <a:lnTo>
                      <a:pt x="432674" y="508660"/>
                    </a:lnTo>
                    <a:lnTo>
                      <a:pt x="434383" y="503224"/>
                    </a:lnTo>
                    <a:close/>
                  </a:path>
                  <a:path w="650875" h="681354">
                    <a:moveTo>
                      <a:pt x="168592" y="521360"/>
                    </a:moveTo>
                    <a:lnTo>
                      <a:pt x="130202" y="549089"/>
                    </a:lnTo>
                    <a:lnTo>
                      <a:pt x="105482" y="552844"/>
                    </a:lnTo>
                    <a:lnTo>
                      <a:pt x="188381" y="552844"/>
                    </a:lnTo>
                    <a:lnTo>
                      <a:pt x="184759" y="544150"/>
                    </a:lnTo>
                    <a:lnTo>
                      <a:pt x="179912" y="535571"/>
                    </a:lnTo>
                    <a:lnTo>
                      <a:pt x="174180" y="527418"/>
                    </a:lnTo>
                    <a:lnTo>
                      <a:pt x="169608" y="521474"/>
                    </a:lnTo>
                    <a:lnTo>
                      <a:pt x="168592" y="521360"/>
                    </a:lnTo>
                    <a:close/>
                  </a:path>
                  <a:path w="650875" h="681354">
                    <a:moveTo>
                      <a:pt x="80368" y="459626"/>
                    </a:moveTo>
                    <a:lnTo>
                      <a:pt x="41935" y="470789"/>
                    </a:lnTo>
                    <a:lnTo>
                      <a:pt x="11213" y="505536"/>
                    </a:lnTo>
                    <a:lnTo>
                      <a:pt x="0" y="526707"/>
                    </a:lnTo>
                    <a:lnTo>
                      <a:pt x="6032" y="534720"/>
                    </a:lnTo>
                    <a:lnTo>
                      <a:pt x="10299" y="533869"/>
                    </a:lnTo>
                    <a:lnTo>
                      <a:pt x="14274" y="533247"/>
                    </a:lnTo>
                    <a:lnTo>
                      <a:pt x="23513" y="532429"/>
                    </a:lnTo>
                    <a:lnTo>
                      <a:pt x="98678" y="532429"/>
                    </a:lnTo>
                    <a:lnTo>
                      <a:pt x="101620" y="519578"/>
                    </a:lnTo>
                    <a:lnTo>
                      <a:pt x="107140" y="507158"/>
                    </a:lnTo>
                    <a:lnTo>
                      <a:pt x="114922" y="495962"/>
                    </a:lnTo>
                    <a:lnTo>
                      <a:pt x="124840" y="485952"/>
                    </a:lnTo>
                    <a:lnTo>
                      <a:pt x="129336" y="482079"/>
                    </a:lnTo>
                    <a:lnTo>
                      <a:pt x="129425" y="479933"/>
                    </a:lnTo>
                    <a:lnTo>
                      <a:pt x="116872" y="473047"/>
                    </a:lnTo>
                    <a:lnTo>
                      <a:pt x="109408" y="469088"/>
                    </a:lnTo>
                    <a:lnTo>
                      <a:pt x="101809" y="465485"/>
                    </a:lnTo>
                    <a:lnTo>
                      <a:pt x="94018" y="462483"/>
                    </a:lnTo>
                    <a:lnTo>
                      <a:pt x="80368" y="459626"/>
                    </a:lnTo>
                    <a:close/>
                  </a:path>
                  <a:path w="650875" h="681354">
                    <a:moveTo>
                      <a:pt x="182879" y="211467"/>
                    </a:moveTo>
                    <a:lnTo>
                      <a:pt x="129503" y="224421"/>
                    </a:lnTo>
                    <a:lnTo>
                      <a:pt x="61112" y="290131"/>
                    </a:lnTo>
                    <a:lnTo>
                      <a:pt x="61569" y="292265"/>
                    </a:lnTo>
                    <a:lnTo>
                      <a:pt x="143573" y="326351"/>
                    </a:lnTo>
                    <a:lnTo>
                      <a:pt x="145745" y="327444"/>
                    </a:lnTo>
                    <a:lnTo>
                      <a:pt x="129416" y="387283"/>
                    </a:lnTo>
                    <a:lnTo>
                      <a:pt x="123037" y="410438"/>
                    </a:lnTo>
                    <a:lnTo>
                      <a:pt x="123393" y="412965"/>
                    </a:lnTo>
                    <a:lnTo>
                      <a:pt x="236867" y="526122"/>
                    </a:lnTo>
                    <a:lnTo>
                      <a:pt x="240131" y="527011"/>
                    </a:lnTo>
                    <a:lnTo>
                      <a:pt x="242252" y="526580"/>
                    </a:lnTo>
                    <a:lnTo>
                      <a:pt x="262574" y="522086"/>
                    </a:lnTo>
                    <a:lnTo>
                      <a:pt x="282716" y="516755"/>
                    </a:lnTo>
                    <a:lnTo>
                      <a:pt x="302708" y="510497"/>
                    </a:lnTo>
                    <a:lnTo>
                      <a:pt x="322579" y="503224"/>
                    </a:lnTo>
                    <a:lnTo>
                      <a:pt x="434383" y="503224"/>
                    </a:lnTo>
                    <a:lnTo>
                      <a:pt x="437304" y="493933"/>
                    </a:lnTo>
                    <a:lnTo>
                      <a:pt x="438950" y="478002"/>
                    </a:lnTo>
                    <a:lnTo>
                      <a:pt x="438845" y="469088"/>
                    </a:lnTo>
                    <a:lnTo>
                      <a:pt x="438607" y="462483"/>
                    </a:lnTo>
                    <a:lnTo>
                      <a:pt x="438471" y="459626"/>
                    </a:lnTo>
                    <a:lnTo>
                      <a:pt x="438112" y="453069"/>
                    </a:lnTo>
                    <a:lnTo>
                      <a:pt x="437273" y="440512"/>
                    </a:lnTo>
                    <a:lnTo>
                      <a:pt x="438911" y="438162"/>
                    </a:lnTo>
                    <a:lnTo>
                      <a:pt x="475979" y="407236"/>
                    </a:lnTo>
                    <a:lnTo>
                      <a:pt x="525417" y="355488"/>
                    </a:lnTo>
                    <a:lnTo>
                      <a:pt x="558509" y="310056"/>
                    </a:lnTo>
                    <a:lnTo>
                      <a:pt x="576711" y="278206"/>
                    </a:lnTo>
                    <a:lnTo>
                      <a:pt x="434403" y="278206"/>
                    </a:lnTo>
                    <a:lnTo>
                      <a:pt x="409820" y="273234"/>
                    </a:lnTo>
                    <a:lnTo>
                      <a:pt x="390061" y="259778"/>
                    </a:lnTo>
                    <a:lnTo>
                      <a:pt x="376932" y="239683"/>
                    </a:lnTo>
                    <a:lnTo>
                      <a:pt x="372236" y="214795"/>
                    </a:lnTo>
                    <a:lnTo>
                      <a:pt x="372662" y="212775"/>
                    </a:lnTo>
                    <a:lnTo>
                      <a:pt x="209702" y="212775"/>
                    </a:lnTo>
                    <a:lnTo>
                      <a:pt x="199580" y="212559"/>
                    </a:lnTo>
                    <a:lnTo>
                      <a:pt x="191236" y="211950"/>
                    </a:lnTo>
                    <a:lnTo>
                      <a:pt x="182879" y="211467"/>
                    </a:lnTo>
                    <a:close/>
                  </a:path>
                  <a:path w="650875" h="681354">
                    <a:moveTo>
                      <a:pt x="627691" y="153720"/>
                    </a:moveTo>
                    <a:lnTo>
                      <a:pt x="434949" y="153720"/>
                    </a:lnTo>
                    <a:lnTo>
                      <a:pt x="459194" y="158756"/>
                    </a:lnTo>
                    <a:lnTo>
                      <a:pt x="478986" y="172213"/>
                    </a:lnTo>
                    <a:lnTo>
                      <a:pt x="492292" y="192045"/>
                    </a:lnTo>
                    <a:lnTo>
                      <a:pt x="497077" y="216204"/>
                    </a:lnTo>
                    <a:lnTo>
                      <a:pt x="492021" y="240374"/>
                    </a:lnTo>
                    <a:lnTo>
                      <a:pt x="478523" y="260116"/>
                    </a:lnTo>
                    <a:lnTo>
                      <a:pt x="458633" y="273403"/>
                    </a:lnTo>
                    <a:lnTo>
                      <a:pt x="434403" y="278206"/>
                    </a:lnTo>
                    <a:lnTo>
                      <a:pt x="576711" y="278206"/>
                    </a:lnTo>
                    <a:lnTo>
                      <a:pt x="586412" y="261230"/>
                    </a:lnTo>
                    <a:lnTo>
                      <a:pt x="609447" y="209257"/>
                    </a:lnTo>
                    <a:lnTo>
                      <a:pt x="622154" y="173099"/>
                    </a:lnTo>
                    <a:lnTo>
                      <a:pt x="627691" y="153720"/>
                    </a:lnTo>
                    <a:close/>
                  </a:path>
                  <a:path w="650875" h="681354">
                    <a:moveTo>
                      <a:pt x="608698" y="0"/>
                    </a:moveTo>
                    <a:lnTo>
                      <a:pt x="565037" y="7350"/>
                    </a:lnTo>
                    <a:lnTo>
                      <a:pt x="521728" y="16243"/>
                    </a:lnTo>
                    <a:lnTo>
                      <a:pt x="469602" y="31073"/>
                    </a:lnTo>
                    <a:lnTo>
                      <a:pt x="419913" y="49825"/>
                    </a:lnTo>
                    <a:lnTo>
                      <a:pt x="372809" y="72723"/>
                    </a:lnTo>
                    <a:lnTo>
                      <a:pt x="328436" y="99989"/>
                    </a:lnTo>
                    <a:lnTo>
                      <a:pt x="286943" y="131845"/>
                    </a:lnTo>
                    <a:lnTo>
                      <a:pt x="248476" y="168516"/>
                    </a:lnTo>
                    <a:lnTo>
                      <a:pt x="213182" y="210223"/>
                    </a:lnTo>
                    <a:lnTo>
                      <a:pt x="212115" y="211620"/>
                    </a:lnTo>
                    <a:lnTo>
                      <a:pt x="209702" y="212775"/>
                    </a:lnTo>
                    <a:lnTo>
                      <a:pt x="372662" y="212775"/>
                    </a:lnTo>
                    <a:lnTo>
                      <a:pt x="377263" y="190946"/>
                    </a:lnTo>
                    <a:lnTo>
                      <a:pt x="390753" y="171494"/>
                    </a:lnTo>
                    <a:lnTo>
                      <a:pt x="410663" y="158423"/>
                    </a:lnTo>
                    <a:lnTo>
                      <a:pt x="434949" y="153720"/>
                    </a:lnTo>
                    <a:lnTo>
                      <a:pt x="627691" y="153720"/>
                    </a:lnTo>
                    <a:lnTo>
                      <a:pt x="632653" y="136351"/>
                    </a:lnTo>
                    <a:lnTo>
                      <a:pt x="641147" y="99078"/>
                    </a:lnTo>
                    <a:lnTo>
                      <a:pt x="647839" y="61341"/>
                    </a:lnTo>
                    <a:lnTo>
                      <a:pt x="650874" y="32410"/>
                    </a:lnTo>
                    <a:lnTo>
                      <a:pt x="647090" y="17489"/>
                    </a:lnTo>
                    <a:lnTo>
                      <a:pt x="637963" y="6484"/>
                    </a:lnTo>
                    <a:lnTo>
                      <a:pt x="624748" y="340"/>
                    </a:lnTo>
                    <a:lnTo>
                      <a:pt x="608698" y="0"/>
                    </a:lnTo>
                    <a:close/>
                  </a:path>
                </a:pathLst>
              </a:custGeom>
              <a:solidFill>
                <a:srgbClr val="4C4C4C"/>
              </a:solidFill>
            </p:spPr>
            <p:txBody>
              <a:bodyPr wrap="square" lIns="0" tIns="0" rIns="0" bIns="0" rtlCol="0"/>
              <a:lstStyle/>
              <a:p>
                <a:endParaRPr sz="2399">
                  <a:solidFill>
                    <a:prstClr val="black"/>
                  </a:solidFill>
                  <a:latin typeface="Delivery"/>
                </a:endParaRPr>
              </a:p>
            </p:txBody>
          </p:sp>
        </p:grpSp>
      </p:grpSp>
      <p:sp>
        <p:nvSpPr>
          <p:cNvPr id="38" name="Freihandform 258"/>
          <p:cNvSpPr/>
          <p:nvPr/>
        </p:nvSpPr>
        <p:spPr>
          <a:xfrm>
            <a:off x="2142819" y="2797168"/>
            <a:ext cx="747497" cy="451929"/>
          </a:xfrm>
          <a:custGeom>
            <a:avLst/>
            <a:gdLst>
              <a:gd name="connsiteX0" fmla="*/ 1440784 w 2276821"/>
              <a:gd name="connsiteY0" fmla="*/ 0 h 1345325"/>
              <a:gd name="connsiteX1" fmla="*/ 1974933 w 2276821"/>
              <a:gd name="connsiteY1" fmla="*/ 534149 h 1345325"/>
              <a:gd name="connsiteX2" fmla="*/ 1966138 w 2276821"/>
              <a:gd name="connsiteY2" fmla="*/ 621394 h 1345325"/>
              <a:gd name="connsiteX3" fmla="*/ 1985631 w 2276821"/>
              <a:gd name="connsiteY3" fmla="*/ 623359 h 1345325"/>
              <a:gd name="connsiteX4" fmla="*/ 2276821 w 2276821"/>
              <a:gd name="connsiteY4" fmla="*/ 980637 h 1345325"/>
              <a:gd name="connsiteX5" fmla="*/ 1912134 w 2276821"/>
              <a:gd name="connsiteY5" fmla="*/ 1345324 h 1345325"/>
              <a:gd name="connsiteX6" fmla="*/ 456658 w 2276821"/>
              <a:gd name="connsiteY6" fmla="*/ 1345324 h 1345325"/>
              <a:gd name="connsiteX7" fmla="*/ 424111 w 2276821"/>
              <a:gd name="connsiteY7" fmla="*/ 1342043 h 1345325"/>
              <a:gd name="connsiteX8" fmla="*/ 391553 w 2276821"/>
              <a:gd name="connsiteY8" fmla="*/ 1345325 h 1345325"/>
              <a:gd name="connsiteX9" fmla="*/ 0 w 2276821"/>
              <a:gd name="connsiteY9" fmla="*/ 953772 h 1345325"/>
              <a:gd name="connsiteX10" fmla="*/ 391553 w 2276821"/>
              <a:gd name="connsiteY10" fmla="*/ 562219 h 1345325"/>
              <a:gd name="connsiteX11" fmla="*/ 461060 w 2276821"/>
              <a:gd name="connsiteY11" fmla="*/ 569226 h 1345325"/>
              <a:gd name="connsiteX12" fmla="*/ 460853 w 2276821"/>
              <a:gd name="connsiteY12" fmla="*/ 567173 h 1345325"/>
              <a:gd name="connsiteX13" fmla="*/ 729883 w 2276821"/>
              <a:gd name="connsiteY13" fmla="*/ 298143 h 1345325"/>
              <a:gd name="connsiteX14" fmla="*/ 920116 w 2276821"/>
              <a:gd name="connsiteY14" fmla="*/ 376940 h 1345325"/>
              <a:gd name="connsiteX15" fmla="*/ 928850 w 2276821"/>
              <a:gd name="connsiteY15" fmla="*/ 389894 h 1345325"/>
              <a:gd name="connsiteX16" fmla="*/ 948611 w 2276821"/>
              <a:gd name="connsiteY16" fmla="*/ 326234 h 1345325"/>
              <a:gd name="connsiteX17" fmla="*/ 1440784 w 2276821"/>
              <a:gd name="connsiteY17" fmla="*/ 0 h 134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76821" h="1345325">
                <a:moveTo>
                  <a:pt x="1440784" y="0"/>
                </a:moveTo>
                <a:cubicBezTo>
                  <a:pt x="1735786" y="0"/>
                  <a:pt x="1974933" y="239147"/>
                  <a:pt x="1974933" y="534149"/>
                </a:cubicBezTo>
                <a:lnTo>
                  <a:pt x="1966138" y="621394"/>
                </a:lnTo>
                <a:lnTo>
                  <a:pt x="1985631" y="623359"/>
                </a:lnTo>
                <a:cubicBezTo>
                  <a:pt x="2151813" y="657365"/>
                  <a:pt x="2276821" y="804402"/>
                  <a:pt x="2276821" y="980637"/>
                </a:cubicBezTo>
                <a:cubicBezTo>
                  <a:pt x="2276821" y="1182048"/>
                  <a:pt x="2113545" y="1345324"/>
                  <a:pt x="1912134" y="1345324"/>
                </a:cubicBezTo>
                <a:lnTo>
                  <a:pt x="456658" y="1345324"/>
                </a:lnTo>
                <a:lnTo>
                  <a:pt x="424111" y="1342043"/>
                </a:lnTo>
                <a:lnTo>
                  <a:pt x="391553" y="1345325"/>
                </a:lnTo>
                <a:cubicBezTo>
                  <a:pt x="175304" y="1345325"/>
                  <a:pt x="0" y="1170021"/>
                  <a:pt x="0" y="953772"/>
                </a:cubicBezTo>
                <a:cubicBezTo>
                  <a:pt x="0" y="737523"/>
                  <a:pt x="175304" y="562219"/>
                  <a:pt x="391553" y="562219"/>
                </a:cubicBezTo>
                <a:lnTo>
                  <a:pt x="461060" y="569226"/>
                </a:lnTo>
                <a:lnTo>
                  <a:pt x="460853" y="567173"/>
                </a:lnTo>
                <a:cubicBezTo>
                  <a:pt x="460853" y="418592"/>
                  <a:pt x="581302" y="298143"/>
                  <a:pt x="729883" y="298143"/>
                </a:cubicBezTo>
                <a:cubicBezTo>
                  <a:pt x="804174" y="298143"/>
                  <a:pt x="871431" y="328255"/>
                  <a:pt x="920116" y="376940"/>
                </a:cubicBezTo>
                <a:lnTo>
                  <a:pt x="928850" y="389894"/>
                </a:lnTo>
                <a:lnTo>
                  <a:pt x="948611" y="326234"/>
                </a:lnTo>
                <a:cubicBezTo>
                  <a:pt x="1029700" y="134520"/>
                  <a:pt x="1219533" y="0"/>
                  <a:pt x="1440784" y="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tx1"/>
              </a:solidFill>
            </a:endParaRPr>
          </a:p>
        </p:txBody>
      </p:sp>
      <p:grpSp>
        <p:nvGrpSpPr>
          <p:cNvPr id="40" name="Gruppieren 123"/>
          <p:cNvGrpSpPr/>
          <p:nvPr/>
        </p:nvGrpSpPr>
        <p:grpSpPr>
          <a:xfrm>
            <a:off x="8194932" y="2781647"/>
            <a:ext cx="559164" cy="539411"/>
            <a:chOff x="-1687513" y="-3501733"/>
            <a:chExt cx="2043113" cy="2068513"/>
          </a:xfrm>
          <a:solidFill>
            <a:schemeClr val="accent2">
              <a:lumMod val="75000"/>
            </a:schemeClr>
          </a:solidFill>
        </p:grpSpPr>
        <p:sp>
          <p:nvSpPr>
            <p:cNvPr id="48" name="Freeform 62"/>
            <p:cNvSpPr>
              <a:spLocks/>
            </p:cNvSpPr>
            <p:nvPr/>
          </p:nvSpPr>
          <p:spPr bwMode="auto">
            <a:xfrm>
              <a:off x="-1539875" y="-3501733"/>
              <a:ext cx="1895475" cy="1157288"/>
            </a:xfrm>
            <a:custGeom>
              <a:avLst/>
              <a:gdLst>
                <a:gd name="T0" fmla="*/ 501 w 505"/>
                <a:gd name="T1" fmla="*/ 156 h 307"/>
                <a:gd name="T2" fmla="*/ 500 w 505"/>
                <a:gd name="T3" fmla="*/ 156 h 307"/>
                <a:gd name="T4" fmla="*/ 499 w 505"/>
                <a:gd name="T5" fmla="*/ 154 h 307"/>
                <a:gd name="T6" fmla="*/ 499 w 505"/>
                <a:gd name="T7" fmla="*/ 154 h 307"/>
                <a:gd name="T8" fmla="*/ 473 w 505"/>
                <a:gd name="T9" fmla="*/ 127 h 307"/>
                <a:gd name="T10" fmla="*/ 472 w 505"/>
                <a:gd name="T11" fmla="*/ 127 h 307"/>
                <a:gd name="T12" fmla="*/ 468 w 505"/>
                <a:gd name="T13" fmla="*/ 126 h 307"/>
                <a:gd name="T14" fmla="*/ 113 w 505"/>
                <a:gd name="T15" fmla="*/ 7 h 307"/>
                <a:gd name="T16" fmla="*/ 49 w 505"/>
                <a:gd name="T17" fmla="*/ 42 h 307"/>
                <a:gd name="T18" fmla="*/ 0 w 505"/>
                <a:gd name="T19" fmla="*/ 188 h 307"/>
                <a:gd name="T20" fmla="*/ 8 w 505"/>
                <a:gd name="T21" fmla="*/ 187 h 307"/>
                <a:gd name="T22" fmla="*/ 9 w 505"/>
                <a:gd name="T23" fmla="*/ 187 h 307"/>
                <a:gd name="T24" fmla="*/ 10 w 505"/>
                <a:gd name="T25" fmla="*/ 187 h 307"/>
                <a:gd name="T26" fmla="*/ 31 w 505"/>
                <a:gd name="T27" fmla="*/ 187 h 307"/>
                <a:gd name="T28" fmla="*/ 68 w 505"/>
                <a:gd name="T29" fmla="*/ 75 h 307"/>
                <a:gd name="T30" fmla="*/ 146 w 505"/>
                <a:gd name="T31" fmla="*/ 47 h 307"/>
                <a:gd name="T32" fmla="*/ 422 w 505"/>
                <a:gd name="T33" fmla="*/ 140 h 307"/>
                <a:gd name="T34" fmla="*/ 441 w 505"/>
                <a:gd name="T35" fmla="*/ 195 h 307"/>
                <a:gd name="T36" fmla="*/ 441 w 505"/>
                <a:gd name="T37" fmla="*/ 195 h 307"/>
                <a:gd name="T38" fmla="*/ 444 w 505"/>
                <a:gd name="T39" fmla="*/ 198 h 307"/>
                <a:gd name="T40" fmla="*/ 445 w 505"/>
                <a:gd name="T41" fmla="*/ 198 h 307"/>
                <a:gd name="T42" fmla="*/ 467 w 505"/>
                <a:gd name="T43" fmla="*/ 209 h 307"/>
                <a:gd name="T44" fmla="*/ 458 w 505"/>
                <a:gd name="T45" fmla="*/ 236 h 307"/>
                <a:gd name="T46" fmla="*/ 460 w 505"/>
                <a:gd name="T47" fmla="*/ 242 h 307"/>
                <a:gd name="T48" fmla="*/ 461 w 505"/>
                <a:gd name="T49" fmla="*/ 244 h 307"/>
                <a:gd name="T50" fmla="*/ 461 w 505"/>
                <a:gd name="T51" fmla="*/ 244 h 307"/>
                <a:gd name="T52" fmla="*/ 461 w 505"/>
                <a:gd name="T53" fmla="*/ 244 h 307"/>
                <a:gd name="T54" fmla="*/ 462 w 505"/>
                <a:gd name="T55" fmla="*/ 248 h 307"/>
                <a:gd name="T56" fmla="*/ 462 w 505"/>
                <a:gd name="T57" fmla="*/ 248 h 307"/>
                <a:gd name="T58" fmla="*/ 464 w 505"/>
                <a:gd name="T59" fmla="*/ 267 h 307"/>
                <a:gd name="T60" fmla="*/ 464 w 505"/>
                <a:gd name="T61" fmla="*/ 307 h 307"/>
                <a:gd name="T62" fmla="*/ 502 w 505"/>
                <a:gd name="T63" fmla="*/ 194 h 307"/>
                <a:gd name="T64" fmla="*/ 504 w 505"/>
                <a:gd name="T65" fmla="*/ 182 h 307"/>
                <a:gd name="T66" fmla="*/ 505 w 505"/>
                <a:gd name="T67" fmla="*/ 182 h 307"/>
                <a:gd name="T68" fmla="*/ 505 w 505"/>
                <a:gd name="T69" fmla="*/ 179 h 307"/>
                <a:gd name="T70" fmla="*/ 505 w 505"/>
                <a:gd name="T71" fmla="*/ 177 h 307"/>
                <a:gd name="T72" fmla="*/ 501 w 505"/>
                <a:gd name="T73" fmla="*/ 156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05" h="307">
                  <a:moveTo>
                    <a:pt x="501" y="156"/>
                  </a:moveTo>
                  <a:cubicBezTo>
                    <a:pt x="500" y="156"/>
                    <a:pt x="500" y="156"/>
                    <a:pt x="500" y="156"/>
                  </a:cubicBezTo>
                  <a:cubicBezTo>
                    <a:pt x="500" y="155"/>
                    <a:pt x="500" y="155"/>
                    <a:pt x="499" y="154"/>
                  </a:cubicBezTo>
                  <a:cubicBezTo>
                    <a:pt x="499" y="154"/>
                    <a:pt x="499" y="154"/>
                    <a:pt x="499" y="154"/>
                  </a:cubicBezTo>
                  <a:cubicBezTo>
                    <a:pt x="494" y="142"/>
                    <a:pt x="484" y="133"/>
                    <a:pt x="473" y="127"/>
                  </a:cubicBezTo>
                  <a:cubicBezTo>
                    <a:pt x="472" y="127"/>
                    <a:pt x="472" y="127"/>
                    <a:pt x="472" y="127"/>
                  </a:cubicBezTo>
                  <a:cubicBezTo>
                    <a:pt x="470" y="127"/>
                    <a:pt x="469" y="126"/>
                    <a:pt x="468" y="126"/>
                  </a:cubicBezTo>
                  <a:cubicBezTo>
                    <a:pt x="113" y="7"/>
                    <a:pt x="113" y="7"/>
                    <a:pt x="113" y="7"/>
                  </a:cubicBezTo>
                  <a:cubicBezTo>
                    <a:pt x="86" y="0"/>
                    <a:pt x="58" y="16"/>
                    <a:pt x="49" y="42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3" y="188"/>
                    <a:pt x="5" y="187"/>
                    <a:pt x="8" y="187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10" y="187"/>
                    <a:pt x="10" y="187"/>
                    <a:pt x="10" y="187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97" y="87"/>
                    <a:pt x="131" y="75"/>
                    <a:pt x="146" y="47"/>
                  </a:cubicBezTo>
                  <a:cubicBezTo>
                    <a:pt x="422" y="140"/>
                    <a:pt x="422" y="140"/>
                    <a:pt x="422" y="140"/>
                  </a:cubicBezTo>
                  <a:cubicBezTo>
                    <a:pt x="418" y="160"/>
                    <a:pt x="426" y="181"/>
                    <a:pt x="441" y="195"/>
                  </a:cubicBezTo>
                  <a:cubicBezTo>
                    <a:pt x="441" y="195"/>
                    <a:pt x="441" y="195"/>
                    <a:pt x="441" y="195"/>
                  </a:cubicBezTo>
                  <a:cubicBezTo>
                    <a:pt x="442" y="196"/>
                    <a:pt x="443" y="197"/>
                    <a:pt x="444" y="198"/>
                  </a:cubicBezTo>
                  <a:cubicBezTo>
                    <a:pt x="445" y="198"/>
                    <a:pt x="445" y="198"/>
                    <a:pt x="445" y="198"/>
                  </a:cubicBezTo>
                  <a:cubicBezTo>
                    <a:pt x="451" y="203"/>
                    <a:pt x="459" y="206"/>
                    <a:pt x="467" y="209"/>
                  </a:cubicBezTo>
                  <a:cubicBezTo>
                    <a:pt x="458" y="236"/>
                    <a:pt x="458" y="236"/>
                    <a:pt x="458" y="236"/>
                  </a:cubicBezTo>
                  <a:cubicBezTo>
                    <a:pt x="459" y="238"/>
                    <a:pt x="459" y="240"/>
                    <a:pt x="460" y="242"/>
                  </a:cubicBezTo>
                  <a:cubicBezTo>
                    <a:pt x="461" y="244"/>
                    <a:pt x="461" y="244"/>
                    <a:pt x="461" y="244"/>
                  </a:cubicBezTo>
                  <a:cubicBezTo>
                    <a:pt x="461" y="244"/>
                    <a:pt x="461" y="244"/>
                    <a:pt x="461" y="244"/>
                  </a:cubicBezTo>
                  <a:cubicBezTo>
                    <a:pt x="461" y="244"/>
                    <a:pt x="461" y="244"/>
                    <a:pt x="461" y="244"/>
                  </a:cubicBezTo>
                  <a:cubicBezTo>
                    <a:pt x="461" y="245"/>
                    <a:pt x="461" y="246"/>
                    <a:pt x="462" y="248"/>
                  </a:cubicBezTo>
                  <a:cubicBezTo>
                    <a:pt x="462" y="248"/>
                    <a:pt x="462" y="248"/>
                    <a:pt x="462" y="248"/>
                  </a:cubicBezTo>
                  <a:cubicBezTo>
                    <a:pt x="464" y="267"/>
                    <a:pt x="464" y="267"/>
                    <a:pt x="464" y="267"/>
                  </a:cubicBezTo>
                  <a:cubicBezTo>
                    <a:pt x="464" y="307"/>
                    <a:pt x="464" y="307"/>
                    <a:pt x="464" y="307"/>
                  </a:cubicBezTo>
                  <a:cubicBezTo>
                    <a:pt x="502" y="194"/>
                    <a:pt x="502" y="194"/>
                    <a:pt x="502" y="194"/>
                  </a:cubicBezTo>
                  <a:cubicBezTo>
                    <a:pt x="503" y="190"/>
                    <a:pt x="504" y="186"/>
                    <a:pt x="504" y="182"/>
                  </a:cubicBezTo>
                  <a:cubicBezTo>
                    <a:pt x="505" y="182"/>
                    <a:pt x="505" y="182"/>
                    <a:pt x="505" y="182"/>
                  </a:cubicBezTo>
                  <a:cubicBezTo>
                    <a:pt x="505" y="181"/>
                    <a:pt x="505" y="180"/>
                    <a:pt x="505" y="179"/>
                  </a:cubicBezTo>
                  <a:cubicBezTo>
                    <a:pt x="505" y="177"/>
                    <a:pt x="505" y="177"/>
                    <a:pt x="505" y="177"/>
                  </a:cubicBezTo>
                  <a:cubicBezTo>
                    <a:pt x="505" y="170"/>
                    <a:pt x="503" y="163"/>
                    <a:pt x="50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63"/>
            <p:cNvSpPr>
              <a:spLocks/>
            </p:cNvSpPr>
            <p:nvPr/>
          </p:nvSpPr>
          <p:spPr bwMode="auto">
            <a:xfrm>
              <a:off x="-411163" y="-1688808"/>
              <a:ext cx="766763" cy="255588"/>
            </a:xfrm>
            <a:custGeom>
              <a:avLst/>
              <a:gdLst>
                <a:gd name="T0" fmla="*/ 204 w 204"/>
                <a:gd name="T1" fmla="*/ 51 h 68"/>
                <a:gd name="T2" fmla="*/ 187 w 204"/>
                <a:gd name="T3" fmla="*/ 68 h 68"/>
                <a:gd name="T4" fmla="*/ 17 w 204"/>
                <a:gd name="T5" fmla="*/ 68 h 68"/>
                <a:gd name="T6" fmla="*/ 0 w 204"/>
                <a:gd name="T7" fmla="*/ 51 h 68"/>
                <a:gd name="T8" fmla="*/ 0 w 204"/>
                <a:gd name="T9" fmla="*/ 17 h 68"/>
                <a:gd name="T10" fmla="*/ 17 w 204"/>
                <a:gd name="T11" fmla="*/ 0 h 68"/>
                <a:gd name="T12" fmla="*/ 187 w 204"/>
                <a:gd name="T13" fmla="*/ 0 h 68"/>
                <a:gd name="T14" fmla="*/ 204 w 204"/>
                <a:gd name="T15" fmla="*/ 17 h 68"/>
                <a:gd name="T16" fmla="*/ 204 w 204"/>
                <a:gd name="T17" fmla="*/ 5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68">
                  <a:moveTo>
                    <a:pt x="204" y="51"/>
                  </a:moveTo>
                  <a:cubicBezTo>
                    <a:pt x="204" y="60"/>
                    <a:pt x="196" y="68"/>
                    <a:pt x="187" y="68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8" y="68"/>
                    <a:pt x="0" y="60"/>
                    <a:pt x="0" y="5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96" y="0"/>
                    <a:pt x="204" y="8"/>
                    <a:pt x="204" y="17"/>
                  </a:cubicBezTo>
                  <a:lnTo>
                    <a:pt x="204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64"/>
            <p:cNvSpPr>
              <a:spLocks/>
            </p:cNvSpPr>
            <p:nvPr/>
          </p:nvSpPr>
          <p:spPr bwMode="auto">
            <a:xfrm>
              <a:off x="-488950" y="-1995195"/>
              <a:ext cx="762000" cy="257175"/>
            </a:xfrm>
            <a:custGeom>
              <a:avLst/>
              <a:gdLst>
                <a:gd name="T0" fmla="*/ 203 w 203"/>
                <a:gd name="T1" fmla="*/ 51 h 68"/>
                <a:gd name="T2" fmla="*/ 186 w 203"/>
                <a:gd name="T3" fmla="*/ 68 h 68"/>
                <a:gd name="T4" fmla="*/ 17 w 203"/>
                <a:gd name="T5" fmla="*/ 68 h 68"/>
                <a:gd name="T6" fmla="*/ 0 w 203"/>
                <a:gd name="T7" fmla="*/ 51 h 68"/>
                <a:gd name="T8" fmla="*/ 0 w 203"/>
                <a:gd name="T9" fmla="*/ 17 h 68"/>
                <a:gd name="T10" fmla="*/ 17 w 203"/>
                <a:gd name="T11" fmla="*/ 0 h 68"/>
                <a:gd name="T12" fmla="*/ 186 w 203"/>
                <a:gd name="T13" fmla="*/ 0 h 68"/>
                <a:gd name="T14" fmla="*/ 203 w 203"/>
                <a:gd name="T15" fmla="*/ 17 h 68"/>
                <a:gd name="T16" fmla="*/ 203 w 203"/>
                <a:gd name="T17" fmla="*/ 5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68">
                  <a:moveTo>
                    <a:pt x="203" y="51"/>
                  </a:moveTo>
                  <a:cubicBezTo>
                    <a:pt x="203" y="61"/>
                    <a:pt x="196" y="68"/>
                    <a:pt x="186" y="68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7" y="68"/>
                    <a:pt x="0" y="61"/>
                    <a:pt x="0" y="5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96" y="0"/>
                    <a:pt x="203" y="8"/>
                    <a:pt x="203" y="17"/>
                  </a:cubicBezTo>
                  <a:lnTo>
                    <a:pt x="203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65"/>
            <p:cNvSpPr>
              <a:spLocks/>
            </p:cNvSpPr>
            <p:nvPr/>
          </p:nvSpPr>
          <p:spPr bwMode="auto">
            <a:xfrm>
              <a:off x="-411163" y="-2296820"/>
              <a:ext cx="766763" cy="252413"/>
            </a:xfrm>
            <a:custGeom>
              <a:avLst/>
              <a:gdLst>
                <a:gd name="T0" fmla="*/ 204 w 204"/>
                <a:gd name="T1" fmla="*/ 50 h 67"/>
                <a:gd name="T2" fmla="*/ 187 w 204"/>
                <a:gd name="T3" fmla="*/ 67 h 67"/>
                <a:gd name="T4" fmla="*/ 17 w 204"/>
                <a:gd name="T5" fmla="*/ 67 h 67"/>
                <a:gd name="T6" fmla="*/ 0 w 204"/>
                <a:gd name="T7" fmla="*/ 50 h 67"/>
                <a:gd name="T8" fmla="*/ 0 w 204"/>
                <a:gd name="T9" fmla="*/ 16 h 67"/>
                <a:gd name="T10" fmla="*/ 17 w 204"/>
                <a:gd name="T11" fmla="*/ 0 h 67"/>
                <a:gd name="T12" fmla="*/ 187 w 204"/>
                <a:gd name="T13" fmla="*/ 0 h 67"/>
                <a:gd name="T14" fmla="*/ 204 w 204"/>
                <a:gd name="T15" fmla="*/ 16 h 67"/>
                <a:gd name="T16" fmla="*/ 204 w 204"/>
                <a:gd name="T17" fmla="*/ 5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67">
                  <a:moveTo>
                    <a:pt x="204" y="50"/>
                  </a:moveTo>
                  <a:cubicBezTo>
                    <a:pt x="204" y="60"/>
                    <a:pt x="196" y="67"/>
                    <a:pt x="187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8" y="67"/>
                    <a:pt x="0" y="60"/>
                    <a:pt x="0" y="5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96" y="0"/>
                    <a:pt x="204" y="7"/>
                    <a:pt x="204" y="16"/>
                  </a:cubicBezTo>
                  <a:lnTo>
                    <a:pt x="204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-1687513" y="-2703220"/>
              <a:ext cx="1790700" cy="1270000"/>
            </a:xfrm>
            <a:custGeom>
              <a:avLst/>
              <a:gdLst>
                <a:gd name="T0" fmla="*/ 323 w 477"/>
                <a:gd name="T1" fmla="*/ 309 h 337"/>
                <a:gd name="T2" fmla="*/ 93 w 477"/>
                <a:gd name="T3" fmla="*/ 309 h 337"/>
                <a:gd name="T4" fmla="*/ 28 w 477"/>
                <a:gd name="T5" fmla="*/ 258 h 337"/>
                <a:gd name="T6" fmla="*/ 28 w 477"/>
                <a:gd name="T7" fmla="*/ 80 h 337"/>
                <a:gd name="T8" fmla="*/ 93 w 477"/>
                <a:gd name="T9" fmla="*/ 28 h 337"/>
                <a:gd name="T10" fmla="*/ 384 w 477"/>
                <a:gd name="T11" fmla="*/ 29 h 337"/>
                <a:gd name="T12" fmla="*/ 420 w 477"/>
                <a:gd name="T13" fmla="*/ 75 h 337"/>
                <a:gd name="T14" fmla="*/ 420 w 477"/>
                <a:gd name="T15" fmla="*/ 75 h 337"/>
                <a:gd name="T16" fmla="*/ 424 w 477"/>
                <a:gd name="T17" fmla="*/ 76 h 337"/>
                <a:gd name="T18" fmla="*/ 424 w 477"/>
                <a:gd name="T19" fmla="*/ 76 h 337"/>
                <a:gd name="T20" fmla="*/ 449 w 477"/>
                <a:gd name="T21" fmla="*/ 80 h 337"/>
                <a:gd name="T22" fmla="*/ 449 w 477"/>
                <a:gd name="T23" fmla="*/ 91 h 337"/>
                <a:gd name="T24" fmla="*/ 477 w 477"/>
                <a:gd name="T25" fmla="*/ 91 h 337"/>
                <a:gd name="T26" fmla="*/ 477 w 477"/>
                <a:gd name="T27" fmla="*/ 55 h 337"/>
                <a:gd name="T28" fmla="*/ 476 w 477"/>
                <a:gd name="T29" fmla="*/ 42 h 337"/>
                <a:gd name="T30" fmla="*/ 476 w 477"/>
                <a:gd name="T31" fmla="*/ 42 h 337"/>
                <a:gd name="T32" fmla="*/ 476 w 477"/>
                <a:gd name="T33" fmla="*/ 40 h 337"/>
                <a:gd name="T34" fmla="*/ 475 w 477"/>
                <a:gd name="T35" fmla="*/ 38 h 337"/>
                <a:gd name="T36" fmla="*/ 464 w 477"/>
                <a:gd name="T37" fmla="*/ 19 h 337"/>
                <a:gd name="T38" fmla="*/ 464 w 477"/>
                <a:gd name="T39" fmla="*/ 19 h 337"/>
                <a:gd name="T40" fmla="*/ 463 w 477"/>
                <a:gd name="T41" fmla="*/ 18 h 337"/>
                <a:gd name="T42" fmla="*/ 463 w 477"/>
                <a:gd name="T43" fmla="*/ 17 h 337"/>
                <a:gd name="T44" fmla="*/ 428 w 477"/>
                <a:gd name="T45" fmla="*/ 0 h 337"/>
                <a:gd name="T46" fmla="*/ 428 w 477"/>
                <a:gd name="T47" fmla="*/ 1 h 337"/>
                <a:gd name="T48" fmla="*/ 423 w 477"/>
                <a:gd name="T49" fmla="*/ 1 h 337"/>
                <a:gd name="T50" fmla="*/ 49 w 477"/>
                <a:gd name="T51" fmla="*/ 0 h 337"/>
                <a:gd name="T52" fmla="*/ 0 w 477"/>
                <a:gd name="T53" fmla="*/ 55 h 337"/>
                <a:gd name="T54" fmla="*/ 0 w 477"/>
                <a:gd name="T55" fmla="*/ 283 h 337"/>
                <a:gd name="T56" fmla="*/ 49 w 477"/>
                <a:gd name="T57" fmla="*/ 337 h 337"/>
                <a:gd name="T58" fmla="*/ 327 w 477"/>
                <a:gd name="T59" fmla="*/ 337 h 337"/>
                <a:gd name="T60" fmla="*/ 323 w 477"/>
                <a:gd name="T61" fmla="*/ 320 h 337"/>
                <a:gd name="T62" fmla="*/ 323 w 477"/>
                <a:gd name="T63" fmla="*/ 309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7" h="337">
                  <a:moveTo>
                    <a:pt x="323" y="309"/>
                  </a:moveTo>
                  <a:cubicBezTo>
                    <a:pt x="93" y="309"/>
                    <a:pt x="93" y="309"/>
                    <a:pt x="93" y="309"/>
                  </a:cubicBezTo>
                  <a:cubicBezTo>
                    <a:pt x="88" y="278"/>
                    <a:pt x="60" y="255"/>
                    <a:pt x="28" y="258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60" y="82"/>
                    <a:pt x="88" y="59"/>
                    <a:pt x="93" y="28"/>
                  </a:cubicBezTo>
                  <a:cubicBezTo>
                    <a:pt x="384" y="29"/>
                    <a:pt x="384" y="29"/>
                    <a:pt x="384" y="29"/>
                  </a:cubicBezTo>
                  <a:cubicBezTo>
                    <a:pt x="387" y="49"/>
                    <a:pt x="401" y="66"/>
                    <a:pt x="420" y="75"/>
                  </a:cubicBezTo>
                  <a:cubicBezTo>
                    <a:pt x="420" y="75"/>
                    <a:pt x="420" y="75"/>
                    <a:pt x="420" y="75"/>
                  </a:cubicBezTo>
                  <a:cubicBezTo>
                    <a:pt x="421" y="75"/>
                    <a:pt x="423" y="76"/>
                    <a:pt x="424" y="76"/>
                  </a:cubicBezTo>
                  <a:cubicBezTo>
                    <a:pt x="424" y="76"/>
                    <a:pt x="424" y="76"/>
                    <a:pt x="424" y="76"/>
                  </a:cubicBezTo>
                  <a:cubicBezTo>
                    <a:pt x="432" y="79"/>
                    <a:pt x="441" y="80"/>
                    <a:pt x="449" y="80"/>
                  </a:cubicBezTo>
                  <a:cubicBezTo>
                    <a:pt x="449" y="91"/>
                    <a:pt x="449" y="91"/>
                    <a:pt x="449" y="91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7" y="55"/>
                    <a:pt x="477" y="55"/>
                    <a:pt x="477" y="55"/>
                  </a:cubicBezTo>
                  <a:cubicBezTo>
                    <a:pt x="477" y="50"/>
                    <a:pt x="477" y="46"/>
                    <a:pt x="476" y="42"/>
                  </a:cubicBezTo>
                  <a:cubicBezTo>
                    <a:pt x="476" y="42"/>
                    <a:pt x="476" y="42"/>
                    <a:pt x="476" y="42"/>
                  </a:cubicBezTo>
                  <a:cubicBezTo>
                    <a:pt x="476" y="41"/>
                    <a:pt x="476" y="40"/>
                    <a:pt x="476" y="40"/>
                  </a:cubicBezTo>
                  <a:cubicBezTo>
                    <a:pt x="475" y="38"/>
                    <a:pt x="475" y="38"/>
                    <a:pt x="475" y="38"/>
                  </a:cubicBezTo>
                  <a:cubicBezTo>
                    <a:pt x="473" y="31"/>
                    <a:pt x="469" y="25"/>
                    <a:pt x="464" y="19"/>
                  </a:cubicBezTo>
                  <a:cubicBezTo>
                    <a:pt x="464" y="19"/>
                    <a:pt x="464" y="19"/>
                    <a:pt x="464" y="19"/>
                  </a:cubicBezTo>
                  <a:cubicBezTo>
                    <a:pt x="464" y="19"/>
                    <a:pt x="463" y="18"/>
                    <a:pt x="463" y="18"/>
                  </a:cubicBezTo>
                  <a:cubicBezTo>
                    <a:pt x="463" y="17"/>
                    <a:pt x="463" y="17"/>
                    <a:pt x="463" y="17"/>
                  </a:cubicBezTo>
                  <a:cubicBezTo>
                    <a:pt x="453" y="8"/>
                    <a:pt x="442" y="2"/>
                    <a:pt x="428" y="0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6" y="1"/>
                    <a:pt x="425" y="1"/>
                    <a:pt x="423" y="1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2" y="3"/>
                    <a:pt x="0" y="26"/>
                    <a:pt x="0" y="55"/>
                  </a:cubicBezTo>
                  <a:cubicBezTo>
                    <a:pt x="0" y="283"/>
                    <a:pt x="0" y="283"/>
                    <a:pt x="0" y="283"/>
                  </a:cubicBezTo>
                  <a:cubicBezTo>
                    <a:pt x="0" y="311"/>
                    <a:pt x="22" y="334"/>
                    <a:pt x="49" y="337"/>
                  </a:cubicBezTo>
                  <a:cubicBezTo>
                    <a:pt x="327" y="337"/>
                    <a:pt x="327" y="337"/>
                    <a:pt x="327" y="337"/>
                  </a:cubicBezTo>
                  <a:cubicBezTo>
                    <a:pt x="325" y="332"/>
                    <a:pt x="323" y="326"/>
                    <a:pt x="323" y="320"/>
                  </a:cubicBezTo>
                  <a:lnTo>
                    <a:pt x="323" y="3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-1150938" y="-2428583"/>
              <a:ext cx="687388" cy="720725"/>
            </a:xfrm>
            <a:custGeom>
              <a:avLst/>
              <a:gdLst>
                <a:gd name="T0" fmla="*/ 159 w 183"/>
                <a:gd name="T1" fmla="*/ 132 h 191"/>
                <a:gd name="T2" fmla="*/ 183 w 183"/>
                <a:gd name="T3" fmla="*/ 100 h 191"/>
                <a:gd name="T4" fmla="*/ 180 w 183"/>
                <a:gd name="T5" fmla="*/ 85 h 191"/>
                <a:gd name="T6" fmla="*/ 180 w 183"/>
                <a:gd name="T7" fmla="*/ 51 h 191"/>
                <a:gd name="T8" fmla="*/ 180 w 183"/>
                <a:gd name="T9" fmla="*/ 51 h 191"/>
                <a:gd name="T10" fmla="*/ 96 w 183"/>
                <a:gd name="T11" fmla="*/ 0 h 191"/>
                <a:gd name="T12" fmla="*/ 0 w 183"/>
                <a:gd name="T13" fmla="*/ 96 h 191"/>
                <a:gd name="T14" fmla="*/ 96 w 183"/>
                <a:gd name="T15" fmla="*/ 191 h 191"/>
                <a:gd name="T16" fmla="*/ 159 w 183"/>
                <a:gd name="T17" fmla="*/ 167 h 191"/>
                <a:gd name="T18" fmla="*/ 159 w 183"/>
                <a:gd name="T19" fmla="*/ 166 h 191"/>
                <a:gd name="T20" fmla="*/ 159 w 183"/>
                <a:gd name="T21" fmla="*/ 132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3" h="191">
                  <a:moveTo>
                    <a:pt x="159" y="132"/>
                  </a:moveTo>
                  <a:cubicBezTo>
                    <a:pt x="159" y="117"/>
                    <a:pt x="169" y="104"/>
                    <a:pt x="183" y="100"/>
                  </a:cubicBezTo>
                  <a:cubicBezTo>
                    <a:pt x="181" y="95"/>
                    <a:pt x="180" y="91"/>
                    <a:pt x="180" y="85"/>
                  </a:cubicBezTo>
                  <a:cubicBezTo>
                    <a:pt x="180" y="51"/>
                    <a:pt x="180" y="51"/>
                    <a:pt x="180" y="51"/>
                  </a:cubicBezTo>
                  <a:cubicBezTo>
                    <a:pt x="180" y="51"/>
                    <a:pt x="180" y="51"/>
                    <a:pt x="180" y="51"/>
                  </a:cubicBezTo>
                  <a:cubicBezTo>
                    <a:pt x="164" y="21"/>
                    <a:pt x="132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148"/>
                    <a:pt x="43" y="191"/>
                    <a:pt x="96" y="191"/>
                  </a:cubicBezTo>
                  <a:cubicBezTo>
                    <a:pt x="120" y="191"/>
                    <a:pt x="142" y="182"/>
                    <a:pt x="159" y="167"/>
                  </a:cubicBezTo>
                  <a:cubicBezTo>
                    <a:pt x="159" y="167"/>
                    <a:pt x="159" y="167"/>
                    <a:pt x="159" y="166"/>
                  </a:cubicBezTo>
                  <a:lnTo>
                    <a:pt x="159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-969963" y="-3049295"/>
              <a:ext cx="652463" cy="252413"/>
            </a:xfrm>
            <a:custGeom>
              <a:avLst/>
              <a:gdLst>
                <a:gd name="T0" fmla="*/ 117 w 174"/>
                <a:gd name="T1" fmla="*/ 16 h 67"/>
                <a:gd name="T2" fmla="*/ 0 w 174"/>
                <a:gd name="T3" fmla="*/ 67 h 67"/>
                <a:gd name="T4" fmla="*/ 48 w 174"/>
                <a:gd name="T5" fmla="*/ 67 h 67"/>
                <a:gd name="T6" fmla="*/ 61 w 174"/>
                <a:gd name="T7" fmla="*/ 67 h 67"/>
                <a:gd name="T8" fmla="*/ 132 w 174"/>
                <a:gd name="T9" fmla="*/ 67 h 67"/>
                <a:gd name="T10" fmla="*/ 140 w 174"/>
                <a:gd name="T11" fmla="*/ 67 h 67"/>
                <a:gd name="T12" fmla="*/ 174 w 174"/>
                <a:gd name="T13" fmla="*/ 67 h 67"/>
                <a:gd name="T14" fmla="*/ 117 w 174"/>
                <a:gd name="T15" fmla="*/ 1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67">
                  <a:moveTo>
                    <a:pt x="117" y="16"/>
                  </a:moveTo>
                  <a:cubicBezTo>
                    <a:pt x="71" y="0"/>
                    <a:pt x="20" y="23"/>
                    <a:pt x="0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132" y="67"/>
                    <a:pt x="132" y="67"/>
                    <a:pt x="132" y="67"/>
                  </a:cubicBezTo>
                  <a:cubicBezTo>
                    <a:pt x="140" y="67"/>
                    <a:pt x="140" y="67"/>
                    <a:pt x="140" y="67"/>
                  </a:cubicBezTo>
                  <a:cubicBezTo>
                    <a:pt x="174" y="67"/>
                    <a:pt x="174" y="67"/>
                    <a:pt x="174" y="67"/>
                  </a:cubicBezTo>
                  <a:cubicBezTo>
                    <a:pt x="164" y="44"/>
                    <a:pt x="144" y="25"/>
                    <a:pt x="11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826462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476947"/>
              </p:ext>
            </p:extLst>
          </p:nvPr>
        </p:nvGraphicFramePr>
        <p:xfrm>
          <a:off x="3999" y="3176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3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999" y="3176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193A937A-F72B-4406-A19C-2114556A7EF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882" y="1060"/>
            <a:ext cx="211601" cy="211601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199" b="1" dirty="0" err="1">
              <a:solidFill>
                <a:srgbClr val="000000"/>
              </a:solidFill>
              <a:latin typeface="Delivery Arabic Cd Black" panose="020F0906020204020204" pitchFamily="34" charset="-78"/>
              <a:ea typeface="+mj-ea"/>
              <a:cs typeface="Delivery Arabic Cd Black" panose="020F0906020204020204" pitchFamily="34" charset="-78"/>
              <a:sym typeface="Delivery Arabic Cd Black" panose="020F0906020204020204" pitchFamily="34" charset="-78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6115" y="1093963"/>
            <a:ext cx="12184006" cy="5763384"/>
          </a:xfrm>
          <a:prstGeom prst="rect">
            <a:avLst/>
          </a:prstGeom>
          <a:solidFill>
            <a:schemeClr val="tx1">
              <a:alpha val="83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5970" tIns="47985" rIns="47985" bIns="47985" numCol="1" rtlCol="0" anchor="t" anchorCtr="0" compatLnSpc="1">
            <a:prstTxWarp prst="textNoShape">
              <a:avLst/>
            </a:prstTxWarp>
          </a:bodyPr>
          <a:lstStyle/>
          <a:p>
            <a:pPr defTabSz="1326686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599" dirty="0" err="1">
              <a:solidFill>
                <a:srgbClr val="000000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552946" y="273226"/>
            <a:ext cx="9458987" cy="820737"/>
          </a:xfrm>
        </p:spPr>
        <p:txBody>
          <a:bodyPr/>
          <a:lstStyle/>
          <a:p>
            <a:pPr defTabSz="1218804">
              <a:defRPr/>
            </a:pPr>
            <a:r>
              <a:rPr lang="en-US" sz="3199" dirty="0" smtClean="0">
                <a:solidFill>
                  <a:schemeClr val="bg1"/>
                </a:solidFill>
                <a:latin typeface="Delivery Arabic Cd Black" panose="020F0906020204020204" pitchFamily="34" charset="-78"/>
                <a:cs typeface="Delivery Arabic Cd Black" panose="020F0906020204020204" pitchFamily="34" charset="-78"/>
              </a:rPr>
              <a:t>MAJOR OPPORTUNITIES FOR CLOUD &amp; API’S IN LOGISTICS</a:t>
            </a:r>
            <a:endParaRPr lang="en-US" sz="3199" dirty="0">
              <a:solidFill>
                <a:schemeClr val="bg1"/>
              </a:solidFill>
              <a:latin typeface="Delivery Arabic Cd Black" panose="020F0906020204020204" pitchFamily="34" charset="-78"/>
              <a:cs typeface="Delivery Arabic Cd Black" panose="020F0906020204020204" pitchFamily="34" charset="-78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80043E-3B23-416E-85CF-8B1FD82508F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1588"/>
            <a:ext cx="26988" cy="24765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32" name="object 29"/>
          <p:cNvSpPr txBox="1"/>
          <p:nvPr/>
        </p:nvSpPr>
        <p:spPr>
          <a:xfrm>
            <a:off x="4385782" y="4435144"/>
            <a:ext cx="3054530" cy="2123538"/>
          </a:xfrm>
          <a:prstGeom prst="rect">
            <a:avLst/>
          </a:prstGeom>
          <a:solidFill>
            <a:srgbClr val="E5E5E5"/>
          </a:solidFill>
        </p:spPr>
        <p:txBody>
          <a:bodyPr vert="horz" wrap="square" lIns="180000" tIns="175840" rIns="0" bIns="0" rtlCol="0">
            <a:noAutofit/>
          </a:bodyPr>
          <a:lstStyle/>
          <a:p>
            <a:pPr marR="247570" algn="ctr">
              <a:lnSpc>
                <a:spcPct val="109000"/>
              </a:lnSpc>
              <a:spcBef>
                <a:spcPts val="1385"/>
              </a:spcBef>
              <a:buClr>
                <a:srgbClr val="FFCC00"/>
              </a:buClr>
            </a:pP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On-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demand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logistic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service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(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Laa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)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available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through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standard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interface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and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platform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to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replace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legacy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EDI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solutions</a:t>
            </a:r>
            <a:endParaRPr lang="de-DE" spc="91" dirty="0">
              <a:solidFill>
                <a:srgbClr val="000000"/>
              </a:solidFill>
              <a:cs typeface="Trebuchet MS"/>
            </a:endParaRPr>
          </a:p>
        </p:txBody>
      </p:sp>
      <p:sp>
        <p:nvSpPr>
          <p:cNvPr id="36" name="object 29"/>
          <p:cNvSpPr txBox="1"/>
          <p:nvPr/>
        </p:nvSpPr>
        <p:spPr>
          <a:xfrm>
            <a:off x="8053847" y="4435144"/>
            <a:ext cx="3054530" cy="2123537"/>
          </a:xfrm>
          <a:prstGeom prst="rect">
            <a:avLst/>
          </a:prstGeom>
          <a:solidFill>
            <a:srgbClr val="E5E5E5"/>
          </a:solidFill>
        </p:spPr>
        <p:txBody>
          <a:bodyPr vert="horz" wrap="square" lIns="0" tIns="175840" rIns="0" bIns="0" rtlCol="0">
            <a:noAutofit/>
          </a:bodyPr>
          <a:lstStyle/>
          <a:p>
            <a:pPr marL="231699" marR="247570" algn="ctr">
              <a:lnSpc>
                <a:spcPct val="109000"/>
              </a:lnSpc>
              <a:spcBef>
                <a:spcPts val="1385"/>
              </a:spcBef>
              <a:buClr>
                <a:srgbClr val="FFCC00"/>
              </a:buClr>
            </a:pP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Optimal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orchestration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of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good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,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people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,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machinery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and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asset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from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central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platform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.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Faster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time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to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market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at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lower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cost</a:t>
            </a:r>
            <a:endParaRPr lang="de-DE" spc="91" dirty="0">
              <a:solidFill>
                <a:srgbClr val="000000"/>
              </a:solidFill>
              <a:cs typeface="Trebuchet MS"/>
            </a:endParaRPr>
          </a:p>
        </p:txBody>
      </p:sp>
      <p:sp>
        <p:nvSpPr>
          <p:cNvPr id="37" name="object 30"/>
          <p:cNvSpPr/>
          <p:nvPr/>
        </p:nvSpPr>
        <p:spPr>
          <a:xfrm>
            <a:off x="8048181" y="1850423"/>
            <a:ext cx="3054530" cy="863968"/>
          </a:xfrm>
          <a:custGeom>
            <a:avLst/>
            <a:gdLst/>
            <a:ahLst/>
            <a:cxnLst/>
            <a:rect l="l" t="t" r="r" b="b"/>
            <a:pathLst>
              <a:path w="2232025" h="864235">
                <a:moveTo>
                  <a:pt x="2231961" y="0"/>
                </a:moveTo>
                <a:lnTo>
                  <a:pt x="0" y="0"/>
                </a:lnTo>
                <a:lnTo>
                  <a:pt x="0" y="863993"/>
                </a:lnTo>
                <a:lnTo>
                  <a:pt x="2231961" y="863993"/>
                </a:lnTo>
                <a:lnTo>
                  <a:pt x="2231961" y="0"/>
                </a:lnTo>
                <a:close/>
              </a:path>
            </a:pathLst>
          </a:custGeom>
          <a:solidFill>
            <a:srgbClr val="FFCC00"/>
          </a:solidFill>
        </p:spPr>
        <p:txBody>
          <a:bodyPr wrap="square" lIns="0" tIns="0" rIns="0" bIns="0" rtlCol="0" anchor="ctr"/>
          <a:lstStyle/>
          <a:p>
            <a:pPr algn="ctr"/>
            <a:r>
              <a:rPr lang="de-DE" b="1" dirty="0" smtClean="0">
                <a:solidFill>
                  <a:srgbClr val="000000"/>
                </a:solidFill>
              </a:rPr>
              <a:t>CLOUD-POWERED GLOBAL SUPPLY CHAINS</a:t>
            </a:r>
            <a:endParaRPr lang="de-DE" b="1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973712" y="1791219"/>
            <a:ext cx="3203468" cy="4839826"/>
          </a:xfrm>
          <a:prstGeom prst="rect">
            <a:avLst/>
          </a:prstGeom>
          <a:noFill/>
          <a:ln w="25400" cap="flat" cmpd="sng" algn="ctr">
            <a:solidFill>
              <a:schemeClr val="accent4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973712" y="1546301"/>
            <a:ext cx="2878212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e-DE" sz="1200" b="1" dirty="0" smtClean="0">
                <a:solidFill>
                  <a:schemeClr val="accent4"/>
                </a:solidFill>
              </a:rPr>
              <a:t>FOCUS FOR TODAY</a:t>
            </a:r>
            <a:endParaRPr lang="en-US" sz="1200" b="1" dirty="0" err="1" smtClean="0">
              <a:solidFill>
                <a:schemeClr val="accent4"/>
              </a:solidFill>
            </a:endParaRPr>
          </a:p>
        </p:txBody>
      </p:sp>
      <p:sp>
        <p:nvSpPr>
          <p:cNvPr id="9" name="object 29"/>
          <p:cNvSpPr txBox="1"/>
          <p:nvPr/>
        </p:nvSpPr>
        <p:spPr>
          <a:xfrm>
            <a:off x="723384" y="4435144"/>
            <a:ext cx="3054530" cy="2123537"/>
          </a:xfrm>
          <a:prstGeom prst="rect">
            <a:avLst/>
          </a:prstGeom>
          <a:solidFill>
            <a:srgbClr val="E5E5E5"/>
          </a:solidFill>
        </p:spPr>
        <p:txBody>
          <a:bodyPr vert="horz" wrap="square" lIns="0" tIns="175840" rIns="0" bIns="0" rtlCol="0">
            <a:noAutofit/>
          </a:bodyPr>
          <a:lstStyle/>
          <a:p>
            <a:pPr marL="231699" marR="247570" algn="ctr">
              <a:lnSpc>
                <a:spcPct val="109000"/>
              </a:lnSpc>
              <a:spcBef>
                <a:spcPts val="1385"/>
              </a:spcBef>
              <a:buClr>
                <a:srgbClr val="FFCC00"/>
              </a:buClr>
            </a:pP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Seamlessly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integrated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logistic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service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in 3PV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ecosystem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of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webshop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, e-Commerce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platform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&amp;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logistic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</a:t>
            </a:r>
            <a:r>
              <a:rPr lang="de-DE" spc="91" dirty="0" err="1" smtClean="0">
                <a:solidFill>
                  <a:srgbClr val="000000"/>
                </a:solidFill>
                <a:cs typeface="Trebuchet MS"/>
              </a:rPr>
              <a:t>marketplaces</a:t>
            </a:r>
            <a:r>
              <a:rPr lang="de-DE" spc="91" dirty="0" smtClean="0">
                <a:solidFill>
                  <a:srgbClr val="000000"/>
                </a:solidFill>
                <a:cs typeface="Trebuchet MS"/>
              </a:rPr>
              <a:t>  </a:t>
            </a:r>
            <a:endParaRPr lang="de-DE" b="1" spc="91" dirty="0" smtClean="0">
              <a:solidFill>
                <a:srgbClr val="000000"/>
              </a:solidFill>
              <a:cs typeface="Trebuchet MS"/>
            </a:endParaRPr>
          </a:p>
          <a:p>
            <a:pPr marL="231699" marR="247570">
              <a:lnSpc>
                <a:spcPct val="109000"/>
              </a:lnSpc>
              <a:spcBef>
                <a:spcPts val="1385"/>
              </a:spcBef>
              <a:buClr>
                <a:srgbClr val="FFCC00"/>
              </a:buClr>
            </a:pPr>
            <a:endParaRPr sz="1400" dirty="0">
              <a:solidFill>
                <a:srgbClr val="000000"/>
              </a:solidFill>
              <a:cs typeface="Trebuchet MS"/>
            </a:endParaRPr>
          </a:p>
        </p:txBody>
      </p:sp>
      <p:sp>
        <p:nvSpPr>
          <p:cNvPr id="11" name="object 30"/>
          <p:cNvSpPr/>
          <p:nvPr/>
        </p:nvSpPr>
        <p:spPr>
          <a:xfrm>
            <a:off x="723384" y="1850423"/>
            <a:ext cx="3054530" cy="863967"/>
          </a:xfrm>
          <a:custGeom>
            <a:avLst/>
            <a:gdLst/>
            <a:ahLst/>
            <a:cxnLst/>
            <a:rect l="l" t="t" r="r" b="b"/>
            <a:pathLst>
              <a:path w="2232025" h="864235">
                <a:moveTo>
                  <a:pt x="2231961" y="0"/>
                </a:moveTo>
                <a:lnTo>
                  <a:pt x="0" y="0"/>
                </a:lnTo>
                <a:lnTo>
                  <a:pt x="0" y="863993"/>
                </a:lnTo>
                <a:lnTo>
                  <a:pt x="2231961" y="863993"/>
                </a:lnTo>
                <a:lnTo>
                  <a:pt x="2231961" y="0"/>
                </a:lnTo>
                <a:close/>
              </a:path>
            </a:pathLst>
          </a:custGeom>
          <a:solidFill>
            <a:srgbClr val="FFCC00"/>
          </a:solidFill>
        </p:spPr>
        <p:txBody>
          <a:bodyPr wrap="square" lIns="0" tIns="0" rIns="0" bIns="0" rtlCol="0" anchor="ctr"/>
          <a:lstStyle/>
          <a:p>
            <a:pPr algn="ctr"/>
            <a:r>
              <a:rPr lang="de-DE" b="1" dirty="0" smtClean="0">
                <a:solidFill>
                  <a:srgbClr val="000000"/>
                </a:solidFill>
              </a:rPr>
              <a:t>NEW BUSINESS MODELS &amp; CUSTOMER EXPERIENCES</a:t>
            </a:r>
            <a:endParaRPr lang="de-DE" b="1" dirty="0">
              <a:solidFill>
                <a:srgbClr val="000000"/>
              </a:solidFill>
            </a:endParaRPr>
          </a:p>
        </p:txBody>
      </p:sp>
      <p:sp>
        <p:nvSpPr>
          <p:cNvPr id="14" name="object 34"/>
          <p:cNvSpPr/>
          <p:nvPr/>
        </p:nvSpPr>
        <p:spPr>
          <a:xfrm>
            <a:off x="2140289" y="2467112"/>
            <a:ext cx="220720" cy="17139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23384" y="2714390"/>
            <a:ext cx="3054530" cy="1720754"/>
          </a:xfrm>
          <a:prstGeom prst="rect">
            <a:avLst/>
          </a:prstGeom>
          <a:solidFill>
            <a:schemeClr val="bg1">
              <a:alpha val="5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576530" name="Picture 18" descr="Connected globe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768"/>
          <a:stretch/>
        </p:blipFill>
        <p:spPr bwMode="auto">
          <a:xfrm>
            <a:off x="8048181" y="2714390"/>
            <a:ext cx="3056188" cy="1721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object 30"/>
          <p:cNvSpPr/>
          <p:nvPr/>
        </p:nvSpPr>
        <p:spPr>
          <a:xfrm>
            <a:off x="4385782" y="1850423"/>
            <a:ext cx="3054530" cy="863968"/>
          </a:xfrm>
          <a:custGeom>
            <a:avLst/>
            <a:gdLst/>
            <a:ahLst/>
            <a:cxnLst/>
            <a:rect l="l" t="t" r="r" b="b"/>
            <a:pathLst>
              <a:path w="2232025" h="864235">
                <a:moveTo>
                  <a:pt x="2231961" y="0"/>
                </a:moveTo>
                <a:lnTo>
                  <a:pt x="0" y="0"/>
                </a:lnTo>
                <a:lnTo>
                  <a:pt x="0" y="863993"/>
                </a:lnTo>
                <a:lnTo>
                  <a:pt x="2231961" y="863993"/>
                </a:lnTo>
                <a:lnTo>
                  <a:pt x="2231961" y="0"/>
                </a:lnTo>
                <a:close/>
              </a:path>
            </a:pathLst>
          </a:custGeom>
          <a:solidFill>
            <a:srgbClr val="FFCC00"/>
          </a:solidFill>
        </p:spPr>
        <p:txBody>
          <a:bodyPr wrap="square" lIns="0" tIns="0" rIns="0" bIns="0" rtlCol="0" anchor="ctr"/>
          <a:lstStyle/>
          <a:p>
            <a:pPr algn="ctr"/>
            <a:r>
              <a:rPr lang="de-DE" b="1" dirty="0" smtClean="0">
                <a:solidFill>
                  <a:srgbClr val="000000"/>
                </a:solidFill>
              </a:rPr>
              <a:t>MODULAR CLOUD</a:t>
            </a:r>
          </a:p>
          <a:p>
            <a:pPr algn="ctr"/>
            <a:r>
              <a:rPr lang="de-DE" b="1" dirty="0" smtClean="0">
                <a:solidFill>
                  <a:srgbClr val="000000"/>
                </a:solidFill>
              </a:rPr>
              <a:t>LOGISTICS PLATFORMS</a:t>
            </a:r>
            <a:endParaRPr lang="de-DE" b="1" dirty="0">
              <a:solidFill>
                <a:srgbClr val="000000"/>
              </a:solidFill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4385782" y="2714390"/>
            <a:ext cx="3054530" cy="1720754"/>
          </a:xfrm>
          <a:prstGeom prst="rect">
            <a:avLst/>
          </a:prstGeom>
          <a:solidFill>
            <a:schemeClr val="bg1">
              <a:alpha val="5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576534" name="Picture 22" descr="Perficient and Blue Yonder Launch New Site with Improved CX - Perficient  Blogs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42" y="2910461"/>
            <a:ext cx="2873413" cy="138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4502695" y="2762471"/>
            <a:ext cx="2820704" cy="1683001"/>
            <a:chOff x="12018447" y="-861004"/>
            <a:chExt cx="7502383" cy="4500050"/>
          </a:xfrm>
        </p:grpSpPr>
        <p:pic>
          <p:nvPicPr>
            <p:cNvPr id="576527" name="Picture 15" descr="Blockchain Laptop Mockup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018447" y="-861004"/>
              <a:ext cx="7502383" cy="4500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3420178" y="-280328"/>
              <a:ext cx="4698921" cy="29947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3991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845353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1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defTabSz="914377"/>
            <a:endParaRPr lang="en-US" sz="3733" dirty="0" err="1">
              <a:solidFill>
                <a:prstClr val="black"/>
              </a:solidFill>
              <a:latin typeface="Delivery Cd Black" panose="020F0906020204020204" pitchFamily="34" charset="0"/>
              <a:ea typeface="+mj-ea"/>
              <a:cs typeface="+mj-cs"/>
              <a:sym typeface="Delivery Cd Black" panose="020F0906020204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CC77E0C-F69A-404F-A4D7-F4E1A40E2A5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32002" y="1680129"/>
            <a:ext cx="7136417" cy="1998497"/>
          </a:xfrm>
        </p:spPr>
        <p:txBody>
          <a:bodyPr/>
          <a:lstStyle/>
          <a:p>
            <a:r>
              <a:rPr lang="en-US" sz="3733" dirty="0"/>
              <a:t>DHL Supply chain</a:t>
            </a:r>
            <a:br>
              <a:rPr lang="en-US" sz="3733" dirty="0"/>
            </a:br>
            <a:r>
              <a:rPr lang="en-US" sz="3733" dirty="0"/>
              <a:t>Robotics hub (</a:t>
            </a:r>
            <a:r>
              <a:rPr lang="en-US" sz="3733" dirty="0" err="1"/>
              <a:t>drh</a:t>
            </a:r>
            <a:r>
              <a:rPr lang="en-US" sz="3733" dirty="0"/>
              <a:t>)</a:t>
            </a:r>
            <a:endParaRPr lang="en-GB" sz="3733" dirty="0"/>
          </a:p>
        </p:txBody>
      </p:sp>
      <p:pic>
        <p:nvPicPr>
          <p:cNvPr id="13" name="Picture Placeholder 2"/>
          <p:cNvPicPr>
            <a:picLocks noGrp="1" noChangeAspect="1"/>
          </p:cNvPicPr>
          <p:nvPr>
            <p:ph type="pic" sz="quarter" idx="14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968" r="28968"/>
          <a:stretch>
            <a:fillRect/>
          </a:stretch>
        </p:blipFill>
        <p:spPr bwMode="gray"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4CC95D-81BD-496E-838E-C31ED70BC64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 bwMode="gray">
          <a:xfrm>
            <a:off x="432002" y="3909397"/>
            <a:ext cx="6193367" cy="533400"/>
          </a:xfrm>
        </p:spPr>
        <p:txBody>
          <a:bodyPr/>
          <a:lstStyle/>
          <a:p>
            <a:r>
              <a:rPr lang="en-US" dirty="0" smtClean="0"/>
              <a:t>Antony Cotterill</a:t>
            </a:r>
          </a:p>
          <a:p>
            <a:r>
              <a:rPr lang="en-US" dirty="0" smtClean="0"/>
              <a:t>VP, Global BY </a:t>
            </a:r>
            <a:r>
              <a:rPr lang="en-US" dirty="0" err="1" smtClean="0"/>
              <a:t>CoE</a:t>
            </a:r>
            <a:endParaRPr lang="en-US" dirty="0"/>
          </a:p>
        </p:txBody>
      </p:sp>
      <p:pic>
        <p:nvPicPr>
          <p:cNvPr id="8" name="Bildplatzhalter 2">
            <a:extLst>
              <a:ext uri="{FF2B5EF4-FFF2-40B4-BE49-F238E27FC236}">
                <a16:creationId xmlns:a16="http://schemas.microsoft.com/office/drawing/2014/main" id="{6CFF3B16-E8D1-C24D-B01D-09560488F2A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7005712" y="0"/>
            <a:ext cx="51862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978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34" name="think-cell Slide" r:id="rId9" imgW="415" imgH="416" progId="TCLayout.ActiveDocument.1">
                  <p:embed/>
                </p:oleObj>
              </mc:Choice>
              <mc:Fallback>
                <p:oleObj name="think-cell Slide" r:id="rId9" imgW="415" imgH="41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93961" cy="34315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defTabSz="914377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black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HL SUPPLY CHAIN ROBOTICS HUB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77"/>
            <a:r>
              <a:rPr lang="en-US">
                <a:solidFill>
                  <a:prstClr val="black"/>
                </a:solidFill>
                <a:latin typeface="Delivery"/>
              </a:rPr>
              <a:t>Robotics Hub Introduction | Accelerated Digitalization | BY CoE | April 2021</a:t>
            </a:r>
            <a:endParaRPr lang="en-US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21" name="Textplatzhalter 15"/>
          <p:cNvSpPr txBox="1">
            <a:spLocks/>
          </p:cNvSpPr>
          <p:nvPr/>
        </p:nvSpPr>
        <p:spPr bwMode="gray">
          <a:xfrm>
            <a:off x="431999" y="1949922"/>
            <a:ext cx="11328000" cy="40698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21920" tIns="60960" rIns="121920" bIns="6096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54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lnSpc>
                <a:spcPct val="100000"/>
              </a:lnSpc>
              <a:spcAft>
                <a:spcPts val="800"/>
              </a:spcAft>
              <a:defRPr/>
            </a:pPr>
            <a:endParaRPr lang="en-US" sz="1600">
              <a:solidFill>
                <a:srgbClr val="000000"/>
              </a:solidFill>
              <a:latin typeface="Delivery"/>
            </a:endParaRPr>
          </a:p>
        </p:txBody>
      </p:sp>
      <p:sp>
        <p:nvSpPr>
          <p:cNvPr id="22" name="Textplatzhalter 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31999" y="1534585"/>
            <a:ext cx="9588492" cy="432017"/>
          </a:xfrm>
          <a:prstGeom prst="rect">
            <a:avLst/>
          </a:prstGeom>
          <a:solidFill>
            <a:schemeClr val="bg2"/>
          </a:solidFill>
          <a:ln w="9525" cmpd="sng">
            <a:noFill/>
            <a:prstDash val="solid"/>
            <a:miter lim="800000"/>
            <a:headEnd/>
            <a:tailEnd/>
          </a:ln>
        </p:spPr>
        <p:txBody>
          <a:bodyPr vert="horz" wrap="square" lIns="96000" tIns="24000" rIns="6096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77">
              <a:spcAft>
                <a:spcPts val="672"/>
              </a:spcAft>
            </a:pPr>
            <a:r>
              <a:rPr lang="en-US" sz="1600" dirty="0">
                <a:solidFill>
                  <a:prstClr val="black"/>
                </a:solidFill>
                <a:latin typeface="Delivery"/>
              </a:rPr>
              <a:t>What you’ll find</a:t>
            </a:r>
          </a:p>
        </p:txBody>
      </p:sp>
      <p:sp>
        <p:nvSpPr>
          <p:cNvPr id="24" name="footNoteFull">
            <a:extLst>
              <a:ext uri="{FF2B5EF4-FFF2-40B4-BE49-F238E27FC236}">
                <a16:creationId xmlns:a16="http://schemas.microsoft.com/office/drawing/2014/main" id="{7DA03D63-8CEA-49F5-A3F3-A80F5E219F4B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440207" y="5869100"/>
            <a:ext cx="11313943" cy="3708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de-DE"/>
            </a:defPPr>
            <a:lvl1pPr marR="0" lvl="0" indent="0" fontAlgn="auto">
              <a:spcBef>
                <a:spcPts val="0"/>
              </a:spcBef>
              <a:buClrTx/>
              <a:buSzTx/>
              <a:buFont typeface="Arial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defTabSz="914377"/>
            <a:r>
              <a:rPr lang="en-US" sz="1067" dirty="0">
                <a:solidFill>
                  <a:prstClr val="black"/>
                </a:solidFill>
                <a:latin typeface="Delivery" panose="020F0503020204020204" pitchFamily="34" charset="0"/>
              </a:rPr>
              <a:t>Source: Accelerated Digitalization team</a:t>
            </a:r>
          </a:p>
        </p:txBody>
      </p:sp>
      <p:sp>
        <p:nvSpPr>
          <p:cNvPr id="26" name="Textplatzhalter 2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0094043" y="1534585"/>
            <a:ext cx="1665956" cy="432017"/>
          </a:xfrm>
          <a:prstGeom prst="rect">
            <a:avLst/>
          </a:prstGeom>
          <a:solidFill>
            <a:schemeClr val="bg2"/>
          </a:solidFill>
          <a:ln w="9525" cmpd="sng">
            <a:noFill/>
            <a:prstDash val="solid"/>
            <a:miter lim="800000"/>
            <a:headEnd/>
            <a:tailEnd/>
          </a:ln>
        </p:spPr>
        <p:txBody>
          <a:bodyPr vert="horz" wrap="square" lIns="96000" tIns="24000" rIns="6096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SzPct val="100000"/>
              <a:defRPr sz="1400">
                <a:solidFill>
                  <a:srgbClr val="000000"/>
                </a:solidFill>
              </a:defRPr>
            </a:lvl1pPr>
            <a:lvl2pPr marL="180000" lvl="1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•"/>
              <a:defRPr sz="1400">
                <a:solidFill>
                  <a:srgbClr val="000000"/>
                </a:solidFill>
              </a:defRPr>
            </a:lvl2pPr>
            <a:lvl3pPr marL="360000" lvl="2" indent="-180000" fontAlgn="base">
              <a:spcBef>
                <a:spcPct val="0"/>
              </a:spcBef>
              <a:spcAft>
                <a:spcPts val="300"/>
              </a:spcAft>
              <a:buSzPct val="100000"/>
              <a:buChar char="–"/>
              <a:defRPr sz="1400">
                <a:solidFill>
                  <a:srgbClr val="000000"/>
                </a:solidFill>
              </a:defRPr>
            </a:lvl3pPr>
            <a:lvl4pPr marL="540000" lvl="3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</a:defRPr>
            </a:lvl4pPr>
            <a:lvl5pPr marL="720000" lvl="4" indent="-180000" fontAlgn="base">
              <a:spcBef>
                <a:spcPct val="0"/>
              </a:spcBef>
              <a:spcAft>
                <a:spcPts val="3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</a:defRPr>
            </a:lvl5pPr>
            <a:lvl6pPr marL="11763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6pPr>
            <a:lvl7pPr marL="16335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7pPr>
            <a:lvl8pPr marL="20907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8pPr>
            <a:lvl9pPr marL="2547938" indent="-176213" fontAlgn="base">
              <a:spcBef>
                <a:spcPct val="0"/>
              </a:spcBef>
              <a:spcAft>
                <a:spcPct val="30000"/>
              </a:spcAft>
              <a:buSzPct val="100000"/>
              <a:buFont typeface="Arial" pitchFamily="34" charset="0"/>
              <a:buChar char="∙"/>
              <a:defRPr sz="1400">
                <a:solidFill>
                  <a:srgbClr val="000000"/>
                </a:solidFill>
              </a:defRPr>
            </a:lvl9pPr>
          </a:lstStyle>
          <a:p>
            <a:pPr defTabSz="914377">
              <a:spcAft>
                <a:spcPts val="672"/>
              </a:spcAft>
            </a:pPr>
            <a:r>
              <a:rPr lang="en-US" sz="1600" dirty="0">
                <a:solidFill>
                  <a:prstClr val="black"/>
                </a:solidFill>
                <a:latin typeface="Delivery"/>
              </a:rPr>
              <a:t>Pag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93596" y="2023610"/>
            <a:ext cx="11092848" cy="2326327"/>
            <a:chOff x="445197" y="1517707"/>
            <a:chExt cx="8319636" cy="857412"/>
          </a:xfrm>
        </p:grpSpPr>
        <p:sp>
          <p:nvSpPr>
            <p:cNvPr id="25" name="Textplatzhalter 15"/>
            <p:cNvSpPr txBox="1">
              <a:spLocks/>
            </p:cNvSpPr>
            <p:nvPr/>
          </p:nvSpPr>
          <p:spPr bwMode="gray">
            <a:xfrm>
              <a:off x="793650" y="1517708"/>
              <a:ext cx="1873350" cy="857226"/>
            </a:xfrm>
            <a:prstGeom prst="rect">
              <a:avLst/>
            </a:prstGeom>
            <a:solidFill>
              <a:schemeClr val="bg1"/>
            </a:solidFill>
            <a:ln w="38100">
              <a:noFill/>
            </a:ln>
          </p:spPr>
          <p:txBody>
            <a:bodyPr wrap="square" lIns="121920" tIns="121920" rIns="121920" bIns="121920" anchor="ctr" anchorCtr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 typeface="Arial" pitchFamily="34" charset="0"/>
                <a:buNone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1pPr>
              <a:lvl2pPr marL="180000" marR="0" indent="-1800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 typeface="Arial" pitchFamily="34" charset="0"/>
                <a:buChar char="•"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2pPr>
              <a:lvl3pPr marL="360000" marR="0" indent="-1800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>
                  <a:schemeClr val="tx1"/>
                </a:buClr>
                <a:buSzTx/>
                <a:buFont typeface="Arial" pitchFamily="34" charset="0"/>
                <a:buChar char="–"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3pPr>
              <a:lvl4pPr marL="540000" marR="0" indent="-1800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>
                  <a:schemeClr val="tx1"/>
                </a:buClr>
                <a:buSzTx/>
                <a:buFont typeface="Arial" pitchFamily="34" charset="0"/>
                <a:buChar char="–"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4pPr>
              <a:lvl5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400"/>
                </a:spcAft>
                <a:buClr>
                  <a:schemeClr val="tx1"/>
                </a:buClr>
                <a:buSzTx/>
                <a:buFontTx/>
                <a:buNone/>
                <a:tabLst/>
                <a:def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defTabSz="1219170">
                <a:spcAft>
                  <a:spcPts val="267"/>
                </a:spcAft>
                <a:buNone/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Delivery"/>
                </a:rPr>
                <a:t>Robotics Hub</a:t>
              </a:r>
              <a:endParaRPr lang="en-US" sz="1600" b="1" dirty="0">
                <a:solidFill>
                  <a:prstClr val="black"/>
                </a:solidFill>
                <a:latin typeface="Delivery"/>
              </a:endParaRPr>
            </a:p>
          </p:txBody>
        </p:sp>
        <p:sp>
          <p:nvSpPr>
            <p:cNvPr id="27" name="TextBox 26"/>
            <p:cNvSpPr txBox="1"/>
            <p:nvPr/>
          </p:nvSpPr>
          <p:spPr bwMode="gray">
            <a:xfrm>
              <a:off x="445197" y="1517893"/>
              <a:ext cx="342606" cy="857226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txBody>
            <a:bodyPr wrap="square" lIns="121920" tIns="121920" rIns="121920" bIns="121920" rtlCol="0" anchor="ctr">
              <a:noAutofit/>
            </a:bodyPr>
            <a:lstStyle/>
            <a:p>
              <a:pPr algn="ctr" defTabSz="914377">
                <a:lnSpc>
                  <a:spcPct val="110000"/>
                </a:lnSpc>
                <a:spcAft>
                  <a:spcPts val="667"/>
                </a:spcAft>
              </a:pPr>
              <a:endParaRPr lang="en-US" sz="1600" b="1" dirty="0">
                <a:solidFill>
                  <a:prstClr val="black"/>
                </a:solidFill>
                <a:latin typeface="Delivery"/>
              </a:endParaRPr>
            </a:p>
          </p:txBody>
        </p:sp>
        <p:sp>
          <p:nvSpPr>
            <p:cNvPr id="28" name="Textplatzhalter 15"/>
            <p:cNvSpPr txBox="1">
              <a:spLocks/>
            </p:cNvSpPr>
            <p:nvPr/>
          </p:nvSpPr>
          <p:spPr bwMode="gray">
            <a:xfrm>
              <a:off x="2819400" y="1517707"/>
              <a:ext cx="4695968" cy="857226"/>
            </a:xfrm>
            <a:prstGeom prst="rect">
              <a:avLst/>
            </a:prstGeom>
            <a:solidFill>
              <a:schemeClr val="bg1"/>
            </a:solidFill>
            <a:ln w="38100">
              <a:noFill/>
            </a:ln>
          </p:spPr>
          <p:txBody>
            <a:bodyPr wrap="square" lIns="121920" tIns="121920" rIns="121920" bIns="121920" anchor="ctr" anchorCtr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 typeface="Arial" pitchFamily="34" charset="0"/>
                <a:buNone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1pPr>
              <a:lvl2pPr marL="180000" marR="0" indent="-1800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 typeface="Arial" pitchFamily="34" charset="0"/>
                <a:buChar char="•"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2pPr>
              <a:lvl3pPr marL="360000" marR="0" indent="-1800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>
                  <a:schemeClr val="tx1"/>
                </a:buClr>
                <a:buSzTx/>
                <a:buFont typeface="Arial" pitchFamily="34" charset="0"/>
                <a:buChar char="–"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3pPr>
              <a:lvl4pPr marL="540000" marR="0" indent="-1800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>
                  <a:schemeClr val="tx1"/>
                </a:buClr>
                <a:buSzTx/>
                <a:buFont typeface="Arial" pitchFamily="34" charset="0"/>
                <a:buChar char="–"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4pPr>
              <a:lvl5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400"/>
                </a:spcAft>
                <a:buClr>
                  <a:schemeClr val="tx1"/>
                </a:buClr>
                <a:buSzTx/>
                <a:buFontTx/>
                <a:buNone/>
                <a:tabLst/>
                <a:def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594" indent="-228594" defTabSz="1219170">
                <a:spcAft>
                  <a:spcPts val="667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What’s </a:t>
              </a:r>
              <a:r>
                <a:rPr lang="en-US" sz="1600" b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our vision </a:t>
              </a:r>
              <a:r>
                <a:rPr lang="en-US" sz="1600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– </a:t>
              </a:r>
              <a:r>
                <a:rPr lang="en-US" sz="1600" i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We’ll make our customer’s needs a reality</a:t>
              </a:r>
            </a:p>
            <a:p>
              <a:pPr marL="228594" indent="-228594" defTabSz="1219170">
                <a:spcAft>
                  <a:spcPts val="667"/>
                </a:spcAft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What’s Robotics Hub </a:t>
              </a:r>
              <a:r>
                <a:rPr lang="en-US" sz="1600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and </a:t>
              </a:r>
              <a:r>
                <a:rPr lang="en-US" sz="1600" b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what’s in it for you</a:t>
              </a:r>
              <a:r>
                <a:rPr lang="en-US" sz="1600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? - </a:t>
              </a:r>
              <a:r>
                <a:rPr lang="en-US" sz="1600" i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How it will support our </a:t>
              </a:r>
              <a:r>
                <a:rPr lang="en-US" sz="1600" i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business together</a:t>
              </a:r>
              <a:endParaRPr lang="en-US" sz="1600" i="1" dirty="0">
                <a:solidFill>
                  <a:prstClr val="black"/>
                </a:solidFill>
                <a:latin typeface="Delivery"/>
                <a:ea typeface="DengXian"/>
              </a:endParaRPr>
            </a:p>
            <a:p>
              <a:pPr marL="228594" indent="-228594" defTabSz="1219170">
                <a:spcAft>
                  <a:spcPts val="667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Robotics Hub </a:t>
              </a:r>
              <a:r>
                <a:rPr lang="en-US" sz="1600" b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Architecture</a:t>
              </a:r>
            </a:p>
            <a:p>
              <a:pPr marL="228594" indent="-228594" defTabSz="1219170">
                <a:spcAft>
                  <a:spcPts val="667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Our </a:t>
              </a:r>
              <a:r>
                <a:rPr lang="en-US" sz="1600" b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outlook for 2021 </a:t>
              </a:r>
              <a:r>
                <a:rPr lang="en-US" sz="1600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– </a:t>
              </a:r>
              <a:r>
                <a:rPr lang="en-US" sz="1600" i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What’s coming next?</a:t>
              </a:r>
            </a:p>
            <a:p>
              <a:pPr marL="228594" indent="-228594" defTabSz="1219170">
                <a:spcAft>
                  <a:spcPts val="667"/>
                </a:spcAft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Who’s involved</a:t>
              </a:r>
              <a:r>
                <a:rPr lang="en-US" sz="1600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? – </a:t>
              </a:r>
              <a:r>
                <a:rPr lang="en-US" sz="1600" i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Teams involved and how we </a:t>
              </a:r>
              <a:r>
                <a:rPr lang="en-US" sz="1600" i="1" dirty="0">
                  <a:solidFill>
                    <a:prstClr val="black"/>
                  </a:solidFill>
                  <a:latin typeface="Delivery"/>
                  <a:ea typeface="Calibri" panose="020F0502020204030204" pitchFamily="34" charset="0"/>
                  <a:cs typeface="Calibri" panose="020F0502020204030204" pitchFamily="34" charset="0"/>
                </a:rPr>
                <a:t>prioritize</a:t>
              </a:r>
              <a:endParaRPr lang="en-US" sz="1600" i="1" dirty="0">
                <a:solidFill>
                  <a:prstClr val="black"/>
                </a:solidFill>
                <a:latin typeface="Delivery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Textplatzhalter 15"/>
            <p:cNvSpPr txBox="1">
              <a:spLocks/>
            </p:cNvSpPr>
            <p:nvPr/>
          </p:nvSpPr>
          <p:spPr bwMode="gray">
            <a:xfrm>
              <a:off x="7570533" y="1517893"/>
              <a:ext cx="1194300" cy="857226"/>
            </a:xfrm>
            <a:prstGeom prst="rect">
              <a:avLst/>
            </a:prstGeom>
            <a:solidFill>
              <a:schemeClr val="bg1"/>
            </a:solidFill>
            <a:ln w="38100">
              <a:noFill/>
            </a:ln>
          </p:spPr>
          <p:txBody>
            <a:bodyPr wrap="square" lIns="121920" tIns="121920" rIns="121920" bIns="121920" anchor="ctr" anchorCtr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 typeface="Arial" pitchFamily="34" charset="0"/>
                <a:buNone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1pPr>
              <a:lvl2pPr marL="180000" marR="0" indent="-1800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 typeface="Arial" pitchFamily="34" charset="0"/>
                <a:buChar char="•"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2pPr>
              <a:lvl3pPr marL="360000" marR="0" indent="-1800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>
                  <a:schemeClr val="tx1"/>
                </a:buClr>
                <a:buSzTx/>
                <a:buFont typeface="Arial" pitchFamily="34" charset="0"/>
                <a:buChar char="–"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3pPr>
              <a:lvl4pPr marL="540000" marR="0" indent="-1800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500"/>
                </a:spcAft>
                <a:buClr>
                  <a:schemeClr val="tx1"/>
                </a:buClr>
                <a:buSzTx/>
                <a:buFont typeface="Arial" pitchFamily="34" charset="0"/>
                <a:buChar char="–"/>
                <a:tabLst/>
                <a:def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4pPr>
              <a:lvl5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400"/>
                </a:spcAft>
                <a:buClr>
                  <a:schemeClr val="tx1"/>
                </a:buClr>
                <a:buSzTx/>
                <a:buFontTx/>
                <a:buNone/>
                <a:tabLst/>
                <a:def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 defTabSz="1219170">
                <a:spcAft>
                  <a:spcPts val="267"/>
                </a:spcAft>
                <a:buNone/>
                <a:defRPr/>
              </a:pPr>
              <a:r>
                <a:rPr lang="en-US" sz="1600" dirty="0">
                  <a:solidFill>
                    <a:prstClr val="black"/>
                  </a:solidFill>
                  <a:latin typeface="Delivery"/>
                </a:rPr>
                <a:t>3-10</a:t>
              </a:r>
              <a:endParaRPr lang="en-US" sz="1600" dirty="0">
                <a:solidFill>
                  <a:prstClr val="black"/>
                </a:solidFill>
                <a:latin typeface="Delivery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25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5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defTabSz="914377">
              <a:spcBef>
                <a:spcPct val="0"/>
              </a:spcBef>
              <a:spcAft>
                <a:spcPct val="0"/>
              </a:spcAft>
            </a:pPr>
            <a:endParaRPr lang="en-US" sz="2400" b="1" dirty="0" err="1">
              <a:solidFill>
                <a:prstClr val="black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 vision: To optimize supply chains end-to-end – using best in class robotic solutions and actionable data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defTabSz="914377"/>
            <a:r>
              <a:rPr lang="en-US">
                <a:solidFill>
                  <a:prstClr val="black"/>
                </a:solidFill>
                <a:latin typeface="Delivery"/>
              </a:rPr>
              <a:t>Robotics Hub Introduction | Accelerated Digitalization | BY CoE | April 2021</a:t>
            </a:r>
            <a:endParaRPr lang="en-US">
              <a:solidFill>
                <a:prstClr val="black"/>
              </a:solidFill>
              <a:latin typeface="Delivery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7064145" y="1294587"/>
            <a:ext cx="4578852" cy="168373"/>
            <a:chOff x="4872238" y="1009218"/>
            <a:chExt cx="2635995" cy="126280"/>
          </a:xfrm>
        </p:grpSpPr>
        <p:cxnSp>
          <p:nvCxnSpPr>
            <p:cNvPr id="8" name="Elbow Connector 7"/>
            <p:cNvCxnSpPr/>
            <p:nvPr/>
          </p:nvCxnSpPr>
          <p:spPr bwMode="gray">
            <a:xfrm>
              <a:off x="7374334" y="1073040"/>
              <a:ext cx="133899" cy="409"/>
            </a:xfrm>
            <a:prstGeom prst="bentConnector3">
              <a:avLst>
                <a:gd name="adj1" fmla="val 50000"/>
              </a:avLst>
            </a:prstGeom>
            <a:solidFill>
              <a:schemeClr val="bg1"/>
            </a:solidFill>
            <a:ln w="12700" cap="flat" cmpd="sng" algn="ctr">
              <a:solidFill>
                <a:schemeClr val="accent4"/>
              </a:solidFill>
              <a:prstDash val="solid"/>
              <a:round/>
              <a:headEnd type="oval" w="med" len="med"/>
              <a:tailEnd type="oval"/>
            </a:ln>
            <a:effectLst/>
          </p:spPr>
        </p:cxnSp>
        <p:sp>
          <p:nvSpPr>
            <p:cNvPr id="9" name="Inhaltsplatzhalter 2"/>
            <p:cNvSpPr txBox="1">
              <a:spLocks/>
            </p:cNvSpPr>
            <p:nvPr/>
          </p:nvSpPr>
          <p:spPr bwMode="gray">
            <a:xfrm>
              <a:off x="5841873" y="1009218"/>
              <a:ext cx="1460627" cy="1262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eaLnBrk="1" hangingPunct="1">
                <a:spcAft>
                  <a:spcPct val="30000"/>
                </a:spcAft>
                <a:buClr>
                  <a:srgbClr val="000000"/>
                </a:buClr>
                <a:buSzPct val="100000"/>
                <a:defRPr>
                  <a:solidFill>
                    <a:srgbClr val="000000"/>
                  </a:solidFill>
                  <a:latin typeface="+mn-lt"/>
                  <a:cs typeface="+mn-cs"/>
                </a:defRPr>
              </a:lvl1pPr>
              <a:lvl2pPr marL="144000" lvl="1" indent="-144000" eaLnBrk="1" hangingPunct="1">
                <a:spcAft>
                  <a:spcPct val="30000"/>
                </a:spcAft>
                <a:buSzPct val="100000"/>
                <a:buChar char="•"/>
                <a:defRPr>
                  <a:solidFill>
                    <a:srgbClr val="000000"/>
                  </a:solidFill>
                  <a:latin typeface="+mn-lt"/>
                </a:defRPr>
              </a:lvl2pPr>
              <a:lvl3pPr marL="288000" lvl="2" indent="-144000" eaLnBrk="1" hangingPunct="1">
                <a:spcAft>
                  <a:spcPct val="30000"/>
                </a:spcAft>
                <a:buSzPct val="100000"/>
                <a:buChar char="–"/>
                <a:defRPr>
                  <a:solidFill>
                    <a:srgbClr val="000000"/>
                  </a:solidFill>
                  <a:latin typeface="+mn-lt"/>
                </a:defRPr>
              </a:lvl3pPr>
              <a:lvl4pPr marL="432000" lvl="3" indent="-144000" eaLnBrk="1" hangingPunct="1">
                <a:spcAft>
                  <a:spcPct val="30000"/>
                </a:spcAft>
                <a:buSzPct val="100000"/>
                <a:buFont typeface="Wingdings" pitchFamily="2" charset="2"/>
                <a:buChar char="s"/>
                <a:defRPr>
                  <a:solidFill>
                    <a:srgbClr val="000000"/>
                  </a:solidFill>
                  <a:latin typeface="+mn-lt"/>
                </a:defRPr>
              </a:lvl4pPr>
              <a:lvl5pPr marL="576000" lvl="4" indent="-144000" eaLnBrk="1" hangingPunct="1">
                <a:spcAft>
                  <a:spcPct val="30000"/>
                </a:spcAft>
                <a:buSzPct val="100000"/>
                <a:buFont typeface="Arial" charset="0"/>
                <a:buChar char="∙"/>
                <a:defRPr>
                  <a:solidFill>
                    <a:srgbClr val="000000"/>
                  </a:solidFill>
                  <a:latin typeface="+mn-lt"/>
                </a:defRPr>
              </a:lvl5pPr>
              <a:lvl6pPr marL="1176338" indent="-176213" fontAlgn="base">
                <a:spcBef>
                  <a:spcPct val="0"/>
                </a:spcBef>
                <a:spcAft>
                  <a:spcPct val="30000"/>
                </a:spcAft>
                <a:buSzPct val="100000"/>
                <a:buFont typeface="Arial" pitchFamily="34" charset="0"/>
                <a:buChar char="∙"/>
                <a:defRPr sz="1400">
                  <a:solidFill>
                    <a:srgbClr val="000000"/>
                  </a:solidFill>
                  <a:latin typeface="+mn-lt"/>
                </a:defRPr>
              </a:lvl6pPr>
              <a:lvl7pPr marL="1633538" indent="-176213" fontAlgn="base">
                <a:spcBef>
                  <a:spcPct val="0"/>
                </a:spcBef>
                <a:spcAft>
                  <a:spcPct val="30000"/>
                </a:spcAft>
                <a:buSzPct val="100000"/>
                <a:buFont typeface="Arial" pitchFamily="34" charset="0"/>
                <a:buChar char="∙"/>
                <a:defRPr sz="1400">
                  <a:solidFill>
                    <a:srgbClr val="000000"/>
                  </a:solidFill>
                  <a:latin typeface="+mn-lt"/>
                </a:defRPr>
              </a:lvl7pPr>
              <a:lvl8pPr marL="2090738" indent="-176213" fontAlgn="base">
                <a:spcBef>
                  <a:spcPct val="0"/>
                </a:spcBef>
                <a:spcAft>
                  <a:spcPct val="30000"/>
                </a:spcAft>
                <a:buSzPct val="100000"/>
                <a:buFont typeface="Arial" pitchFamily="34" charset="0"/>
                <a:buChar char="∙"/>
                <a:defRPr sz="1400">
                  <a:solidFill>
                    <a:srgbClr val="000000"/>
                  </a:solidFill>
                  <a:latin typeface="+mn-lt"/>
                </a:defRPr>
              </a:lvl8pPr>
              <a:lvl9pPr marL="2547938" indent="-176213" fontAlgn="base">
                <a:spcBef>
                  <a:spcPct val="0"/>
                </a:spcBef>
                <a:spcAft>
                  <a:spcPct val="30000"/>
                </a:spcAft>
                <a:buSzPct val="100000"/>
                <a:buFont typeface="Arial" pitchFamily="34" charset="0"/>
                <a:buChar char="∙"/>
                <a:defRPr sz="14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defTabSz="914377">
                <a:spcAft>
                  <a:spcPts val="0"/>
                </a:spcAft>
                <a:defRPr/>
              </a:pPr>
              <a:r>
                <a:rPr lang="en-US" sz="1067" dirty="0">
                  <a:latin typeface="Delivery" panose="020F0503020204020204" pitchFamily="34" charset="0"/>
                </a:rPr>
                <a:t>Data collection point for DHL Supply Chain</a:t>
              </a:r>
            </a:p>
          </p:txBody>
        </p:sp>
        <p:sp>
          <p:nvSpPr>
            <p:cNvPr id="10" name="Inhaltsplatzhalter 2"/>
            <p:cNvSpPr txBox="1">
              <a:spLocks/>
            </p:cNvSpPr>
            <p:nvPr/>
          </p:nvSpPr>
          <p:spPr bwMode="gray">
            <a:xfrm>
              <a:off x="4872238" y="1009218"/>
              <a:ext cx="910478" cy="12628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eaLnBrk="1" hangingPunct="1">
                <a:spcAft>
                  <a:spcPct val="30000"/>
                </a:spcAft>
                <a:buClr>
                  <a:srgbClr val="000000"/>
                </a:buClr>
                <a:buSzPct val="100000"/>
                <a:defRPr>
                  <a:solidFill>
                    <a:srgbClr val="000000"/>
                  </a:solidFill>
                  <a:latin typeface="+mn-lt"/>
                  <a:cs typeface="+mn-cs"/>
                </a:defRPr>
              </a:lvl1pPr>
              <a:lvl2pPr marL="144000" lvl="1" indent="-144000" eaLnBrk="1" hangingPunct="1">
                <a:spcAft>
                  <a:spcPct val="30000"/>
                </a:spcAft>
                <a:buSzPct val="100000"/>
                <a:buChar char="•"/>
                <a:defRPr>
                  <a:solidFill>
                    <a:srgbClr val="000000"/>
                  </a:solidFill>
                  <a:latin typeface="+mn-lt"/>
                </a:defRPr>
              </a:lvl2pPr>
              <a:lvl3pPr marL="288000" lvl="2" indent="-144000" eaLnBrk="1" hangingPunct="1">
                <a:spcAft>
                  <a:spcPct val="30000"/>
                </a:spcAft>
                <a:buSzPct val="100000"/>
                <a:buChar char="–"/>
                <a:defRPr>
                  <a:solidFill>
                    <a:srgbClr val="000000"/>
                  </a:solidFill>
                  <a:latin typeface="+mn-lt"/>
                </a:defRPr>
              </a:lvl3pPr>
              <a:lvl4pPr marL="432000" lvl="3" indent="-144000" eaLnBrk="1" hangingPunct="1">
                <a:spcAft>
                  <a:spcPct val="30000"/>
                </a:spcAft>
                <a:buSzPct val="100000"/>
                <a:buFont typeface="Wingdings" pitchFamily="2" charset="2"/>
                <a:buChar char="s"/>
                <a:defRPr>
                  <a:solidFill>
                    <a:srgbClr val="000000"/>
                  </a:solidFill>
                  <a:latin typeface="+mn-lt"/>
                </a:defRPr>
              </a:lvl4pPr>
              <a:lvl5pPr marL="576000" lvl="4" indent="-144000" eaLnBrk="1" hangingPunct="1">
                <a:spcAft>
                  <a:spcPct val="30000"/>
                </a:spcAft>
                <a:buSzPct val="100000"/>
                <a:buFont typeface="Arial" charset="0"/>
                <a:buChar char="∙"/>
                <a:defRPr>
                  <a:solidFill>
                    <a:srgbClr val="000000"/>
                  </a:solidFill>
                  <a:latin typeface="+mn-lt"/>
                </a:defRPr>
              </a:lvl5pPr>
              <a:lvl6pPr marL="1176338" indent="-176213" fontAlgn="base">
                <a:spcBef>
                  <a:spcPct val="0"/>
                </a:spcBef>
                <a:spcAft>
                  <a:spcPct val="30000"/>
                </a:spcAft>
                <a:buSzPct val="100000"/>
                <a:buFont typeface="Arial" pitchFamily="34" charset="0"/>
                <a:buChar char="∙"/>
                <a:defRPr sz="1400">
                  <a:solidFill>
                    <a:srgbClr val="000000"/>
                  </a:solidFill>
                  <a:latin typeface="+mn-lt"/>
                </a:defRPr>
              </a:lvl6pPr>
              <a:lvl7pPr marL="1633538" indent="-176213" fontAlgn="base">
                <a:spcBef>
                  <a:spcPct val="0"/>
                </a:spcBef>
                <a:spcAft>
                  <a:spcPct val="30000"/>
                </a:spcAft>
                <a:buSzPct val="100000"/>
                <a:buFont typeface="Arial" pitchFamily="34" charset="0"/>
                <a:buChar char="∙"/>
                <a:defRPr sz="1400">
                  <a:solidFill>
                    <a:srgbClr val="000000"/>
                  </a:solidFill>
                  <a:latin typeface="+mn-lt"/>
                </a:defRPr>
              </a:lvl7pPr>
              <a:lvl8pPr marL="2090738" indent="-176213" fontAlgn="base">
                <a:spcBef>
                  <a:spcPct val="0"/>
                </a:spcBef>
                <a:spcAft>
                  <a:spcPct val="30000"/>
                </a:spcAft>
                <a:buSzPct val="100000"/>
                <a:buFont typeface="Arial" pitchFamily="34" charset="0"/>
                <a:buChar char="∙"/>
                <a:defRPr sz="1400">
                  <a:solidFill>
                    <a:srgbClr val="000000"/>
                  </a:solidFill>
                  <a:latin typeface="+mn-lt"/>
                </a:defRPr>
              </a:lvl8pPr>
              <a:lvl9pPr marL="2547938" indent="-176213" fontAlgn="base">
                <a:spcBef>
                  <a:spcPct val="0"/>
                </a:spcBef>
                <a:spcAft>
                  <a:spcPct val="30000"/>
                </a:spcAft>
                <a:buSzPct val="100000"/>
                <a:buFont typeface="Arial" pitchFamily="34" charset="0"/>
                <a:buChar char="∙"/>
                <a:defRPr sz="14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algn="ctr" defTabSz="914377">
                <a:spcAft>
                  <a:spcPts val="0"/>
                </a:spcAft>
                <a:defRPr/>
              </a:pPr>
              <a:r>
                <a:rPr lang="en-US" sz="1067" dirty="0">
                  <a:latin typeface="Delivery" panose="020F0503020204020204" pitchFamily="34" charset="0"/>
                </a:rPr>
                <a:t>AD Technology Category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7BAE99B8-77EC-4A02-94DD-AA2B212CE01F}"/>
              </a:ext>
            </a:extLst>
          </p:cNvPr>
          <p:cNvSpPr/>
          <p:nvPr/>
        </p:nvSpPr>
        <p:spPr bwMode="gray">
          <a:xfrm>
            <a:off x="431802" y="2078915"/>
            <a:ext cx="11323137" cy="21923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Supporting Robots </a:t>
            </a:r>
            <a:r>
              <a:rPr lang="en-US" sz="100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(e.g. cleaning robots, security robots, dimensioning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B48ADFA-01B4-422A-9A16-F87C4C56B784}"/>
              </a:ext>
            </a:extLst>
          </p:cNvPr>
          <p:cNvSpPr/>
          <p:nvPr/>
        </p:nvSpPr>
        <p:spPr bwMode="gray">
          <a:xfrm>
            <a:off x="431803" y="5251884"/>
            <a:ext cx="11328196" cy="97995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Algorithmic Optimiz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0A0A346-9FC4-4589-A00A-E2D01D58B274}"/>
              </a:ext>
            </a:extLst>
          </p:cNvPr>
          <p:cNvSpPr/>
          <p:nvPr/>
        </p:nvSpPr>
        <p:spPr bwMode="gray">
          <a:xfrm>
            <a:off x="5832878" y="2608079"/>
            <a:ext cx="962140" cy="4384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Goods-To-Person Robots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787B77-2DB0-4C7C-BF6D-DE35142ABAC2}"/>
              </a:ext>
            </a:extLst>
          </p:cNvPr>
          <p:cNvSpPr/>
          <p:nvPr/>
        </p:nvSpPr>
        <p:spPr bwMode="gray">
          <a:xfrm>
            <a:off x="431799" y="2608079"/>
            <a:ext cx="2096228" cy="4384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Indoor Robotic Transport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6A5336-D30B-44EF-842F-E59EF251C8B1}"/>
              </a:ext>
            </a:extLst>
          </p:cNvPr>
          <p:cNvSpPr/>
          <p:nvPr/>
        </p:nvSpPr>
        <p:spPr bwMode="gray">
          <a:xfrm>
            <a:off x="3672447" y="2608079"/>
            <a:ext cx="1016013" cy="4384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Assisted Picking Robots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74E881-2EA7-4623-B1CE-92C14D8C7CAC}"/>
              </a:ext>
            </a:extLst>
          </p:cNvPr>
          <p:cNvSpPr/>
          <p:nvPr/>
        </p:nvSpPr>
        <p:spPr bwMode="gray">
          <a:xfrm>
            <a:off x="6859217" y="2608079"/>
            <a:ext cx="1069887" cy="4384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Robotic Arm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C1A8BFF-D3ED-4B46-9FE8-70C0EE738874}"/>
              </a:ext>
            </a:extLst>
          </p:cNvPr>
          <p:cNvSpPr/>
          <p:nvPr/>
        </p:nvSpPr>
        <p:spPr bwMode="gray">
          <a:xfrm>
            <a:off x="4752662" y="2608079"/>
            <a:ext cx="1016013" cy="4384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377"/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Wearable Devic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2CA5F24-5310-46E3-BB0D-56B71471CCF8}"/>
              </a:ext>
            </a:extLst>
          </p:cNvPr>
          <p:cNvSpPr/>
          <p:nvPr/>
        </p:nvSpPr>
        <p:spPr bwMode="gray">
          <a:xfrm>
            <a:off x="7993303" y="2608079"/>
            <a:ext cx="1016013" cy="4384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Wrapping Robo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7164356-F7C2-4715-8A80-ABBB9CCE39DA}"/>
              </a:ext>
            </a:extLst>
          </p:cNvPr>
          <p:cNvSpPr/>
          <p:nvPr/>
        </p:nvSpPr>
        <p:spPr bwMode="gray">
          <a:xfrm>
            <a:off x="2592230" y="2608079"/>
            <a:ext cx="1016015" cy="4384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Inventory Mgmt. Robo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AE99B8-77EC-4A02-94DD-AA2B212CE01F}"/>
              </a:ext>
            </a:extLst>
          </p:cNvPr>
          <p:cNvSpPr/>
          <p:nvPr/>
        </p:nvSpPr>
        <p:spPr bwMode="gray">
          <a:xfrm>
            <a:off x="431799" y="1534584"/>
            <a:ext cx="2096228" cy="23440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Receiving/Put-awa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BAE99B8-77EC-4A02-94DD-AA2B212CE01F}"/>
              </a:ext>
            </a:extLst>
          </p:cNvPr>
          <p:cNvSpPr/>
          <p:nvPr/>
        </p:nvSpPr>
        <p:spPr bwMode="gray">
          <a:xfrm>
            <a:off x="3672444" y="1534584"/>
            <a:ext cx="3130693" cy="23440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Pick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BAE99B8-77EC-4A02-94DD-AA2B212CE01F}"/>
              </a:ext>
            </a:extLst>
          </p:cNvPr>
          <p:cNvSpPr/>
          <p:nvPr/>
        </p:nvSpPr>
        <p:spPr bwMode="gray">
          <a:xfrm>
            <a:off x="6859217" y="1534584"/>
            <a:ext cx="2160807" cy="23440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Packing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BAE99B8-77EC-4A02-94DD-AA2B212CE01F}"/>
              </a:ext>
            </a:extLst>
          </p:cNvPr>
          <p:cNvSpPr/>
          <p:nvPr/>
        </p:nvSpPr>
        <p:spPr bwMode="gray">
          <a:xfrm>
            <a:off x="9082657" y="1534584"/>
            <a:ext cx="2672283" cy="23440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Dispatch/Deliver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BAE99B8-77EC-4A02-94DD-AA2B212CE01F}"/>
              </a:ext>
            </a:extLst>
          </p:cNvPr>
          <p:cNvSpPr/>
          <p:nvPr/>
        </p:nvSpPr>
        <p:spPr bwMode="gray">
          <a:xfrm>
            <a:off x="2592231" y="1534586"/>
            <a:ext cx="1016013" cy="23440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Storag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B48ADFA-01B4-422A-9A16-F87C4C56B784}"/>
              </a:ext>
            </a:extLst>
          </p:cNvPr>
          <p:cNvSpPr/>
          <p:nvPr/>
        </p:nvSpPr>
        <p:spPr bwMode="gray">
          <a:xfrm>
            <a:off x="9082657" y="2605787"/>
            <a:ext cx="2672283" cy="7053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Asset Tracking &amp; Monitoring </a:t>
            </a:r>
            <a:r>
              <a:rPr lang="en-US" sz="1000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(truck, shipment unit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BAE99B8-77EC-4A02-94DD-AA2B212CE01F}"/>
              </a:ext>
            </a:extLst>
          </p:cNvPr>
          <p:cNvSpPr/>
          <p:nvPr/>
        </p:nvSpPr>
        <p:spPr bwMode="gray">
          <a:xfrm>
            <a:off x="431802" y="1814334"/>
            <a:ext cx="11323137" cy="21923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Intelligent Process Automation </a:t>
            </a:r>
            <a:r>
              <a:rPr lang="en-US" sz="100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(RPA complemented by machine learning and adjacent technologies such as OCR and smart workflow tools)</a:t>
            </a:r>
            <a:endParaRPr lang="en-US" sz="1000" b="1">
              <a:solidFill>
                <a:prstClr val="black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2787B77-2DB0-4C7C-BF6D-DE35142ABAC2}"/>
              </a:ext>
            </a:extLst>
          </p:cNvPr>
          <p:cNvSpPr/>
          <p:nvPr/>
        </p:nvSpPr>
        <p:spPr bwMode="gray">
          <a:xfrm>
            <a:off x="556279" y="5475666"/>
            <a:ext cx="3148420" cy="5699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of </a:t>
            </a: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Tasks</a:t>
            </a:r>
          </a:p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How can I optimally prioritize and group tasks?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787B77-2DB0-4C7C-BF6D-DE35142ABAC2}"/>
              </a:ext>
            </a:extLst>
          </p:cNvPr>
          <p:cNvSpPr/>
          <p:nvPr/>
        </p:nvSpPr>
        <p:spPr bwMode="gray">
          <a:xfrm>
            <a:off x="3831907" y="5475666"/>
            <a:ext cx="3148420" cy="5699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of </a:t>
            </a: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Resources</a:t>
            </a:r>
          </a:p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How can I utilize my resources most efficiently?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787B77-2DB0-4C7C-BF6D-DE35142ABAC2}"/>
              </a:ext>
            </a:extLst>
          </p:cNvPr>
          <p:cNvSpPr/>
          <p:nvPr/>
        </p:nvSpPr>
        <p:spPr bwMode="gray">
          <a:xfrm>
            <a:off x="7107535" y="5475666"/>
            <a:ext cx="3148420" cy="5699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of</a:t>
            </a: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 Inventory</a:t>
            </a:r>
          </a:p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How can I continuously optimize my inventory?</a:t>
            </a:r>
            <a:endParaRPr lang="en-US" sz="1000" b="1">
              <a:solidFill>
                <a:prstClr val="black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2787B77-2DB0-4C7C-BF6D-DE35142ABAC2}"/>
              </a:ext>
            </a:extLst>
          </p:cNvPr>
          <p:cNvSpPr/>
          <p:nvPr/>
        </p:nvSpPr>
        <p:spPr bwMode="gray">
          <a:xfrm>
            <a:off x="10383165" y="5475666"/>
            <a:ext cx="1250008" cy="5699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i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Other (tbd)</a:t>
            </a:r>
          </a:p>
        </p:txBody>
      </p:sp>
      <p:cxnSp>
        <p:nvCxnSpPr>
          <p:cNvPr id="32" name="Elbow Connector 31"/>
          <p:cNvCxnSpPr>
            <a:endCxn id="12" idx="0"/>
          </p:cNvCxnSpPr>
          <p:nvPr/>
        </p:nvCxnSpPr>
        <p:spPr bwMode="gray">
          <a:xfrm rot="10800000" flipV="1">
            <a:off x="6095900" y="5155785"/>
            <a:ext cx="4615645" cy="96099"/>
          </a:xfrm>
          <a:prstGeom prst="bentConnector2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oval" w="med" len="med"/>
            <a:tailEnd type="oval"/>
          </a:ln>
          <a:effectLst/>
        </p:spPr>
      </p:cxnSp>
      <p:cxnSp>
        <p:nvCxnSpPr>
          <p:cNvPr id="33" name="Elbow Connector 32"/>
          <p:cNvCxnSpPr>
            <a:endCxn id="12" idx="0"/>
          </p:cNvCxnSpPr>
          <p:nvPr/>
        </p:nvCxnSpPr>
        <p:spPr bwMode="gray">
          <a:xfrm rot="16200000" flipH="1">
            <a:off x="4929760" y="4085742"/>
            <a:ext cx="247611" cy="2084676"/>
          </a:xfrm>
          <a:prstGeom prst="bentConnector3">
            <a:avLst>
              <a:gd name="adj1" fmla="val 59992"/>
            </a:avLst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oval" w="med" len="med"/>
            <a:tailEnd type="oval"/>
          </a:ln>
          <a:effectLst/>
        </p:spPr>
      </p:cxnSp>
      <p:cxnSp>
        <p:nvCxnSpPr>
          <p:cNvPr id="34" name="Elbow Connector 33"/>
          <p:cNvCxnSpPr>
            <a:stCxn id="48" idx="2"/>
            <a:endCxn id="12" idx="0"/>
          </p:cNvCxnSpPr>
          <p:nvPr/>
        </p:nvCxnSpPr>
        <p:spPr bwMode="gray">
          <a:xfrm rot="5400000">
            <a:off x="6441477" y="4047976"/>
            <a:ext cx="858336" cy="1549485"/>
          </a:xfrm>
          <a:prstGeom prst="bentConnector3">
            <a:avLst>
              <a:gd name="adj1" fmla="val 88136"/>
            </a:avLst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oval" w="med" len="med"/>
            <a:tailEnd type="oval"/>
          </a:ln>
          <a:effectLst/>
        </p:spPr>
      </p:cxnSp>
      <p:cxnSp>
        <p:nvCxnSpPr>
          <p:cNvPr id="35" name="Elbow Connector 34"/>
          <p:cNvCxnSpPr>
            <a:stCxn id="45" idx="2"/>
            <a:endCxn id="12" idx="0"/>
          </p:cNvCxnSpPr>
          <p:nvPr/>
        </p:nvCxnSpPr>
        <p:spPr bwMode="gray">
          <a:xfrm rot="5400000">
            <a:off x="6853769" y="3635688"/>
            <a:ext cx="858336" cy="2374065"/>
          </a:xfrm>
          <a:prstGeom prst="bentConnector3">
            <a:avLst>
              <a:gd name="adj1" fmla="val 88579"/>
            </a:avLst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oval" w="med" len="med"/>
            <a:tailEnd type="oval"/>
          </a:ln>
          <a:effectLst/>
        </p:spPr>
      </p:cxnSp>
      <p:cxnSp>
        <p:nvCxnSpPr>
          <p:cNvPr id="36" name="Elbow Connector 35"/>
          <p:cNvCxnSpPr>
            <a:stCxn id="49" idx="2"/>
            <a:endCxn id="12" idx="0"/>
          </p:cNvCxnSpPr>
          <p:nvPr/>
        </p:nvCxnSpPr>
        <p:spPr bwMode="gray">
          <a:xfrm rot="5400000">
            <a:off x="7480023" y="3613147"/>
            <a:ext cx="254616" cy="3022859"/>
          </a:xfrm>
          <a:prstGeom prst="bentConnector3">
            <a:avLst>
              <a:gd name="adj1" fmla="val 60464"/>
            </a:avLst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oval" w="med" len="med"/>
            <a:tailEnd type="oval"/>
          </a:ln>
          <a:effectLst/>
        </p:spPr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7BAE99B8-77EC-4A02-94DD-AA2B212CE01F}"/>
              </a:ext>
            </a:extLst>
          </p:cNvPr>
          <p:cNvSpPr/>
          <p:nvPr/>
        </p:nvSpPr>
        <p:spPr bwMode="gray">
          <a:xfrm>
            <a:off x="431801" y="2343499"/>
            <a:ext cx="11323139" cy="21923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 err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SmartOperations</a:t>
            </a:r>
            <a:r>
              <a:rPr lang="en-US" sz="1000" b="1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(smart devices + standard software and apps for the shop floor)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B48ADFA-01B4-422A-9A16-F87C4C56B784}"/>
              </a:ext>
            </a:extLst>
          </p:cNvPr>
          <p:cNvSpPr/>
          <p:nvPr/>
        </p:nvSpPr>
        <p:spPr bwMode="gray">
          <a:xfrm>
            <a:off x="431801" y="3091903"/>
            <a:ext cx="8577512" cy="21923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74650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Asset Tracking &amp; Monitoring </a:t>
            </a:r>
            <a:r>
              <a:rPr lang="en-US" sz="1000">
                <a:solidFill>
                  <a:prstClr val="black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(Robot, colleague, pallet/shipment unit)</a:t>
            </a:r>
          </a:p>
        </p:txBody>
      </p:sp>
      <p:cxnSp>
        <p:nvCxnSpPr>
          <p:cNvPr id="39" name="Elbow Connector 38"/>
          <p:cNvCxnSpPr>
            <a:endCxn id="12" idx="0"/>
          </p:cNvCxnSpPr>
          <p:nvPr/>
        </p:nvCxnSpPr>
        <p:spPr bwMode="gray">
          <a:xfrm>
            <a:off x="1447814" y="5155787"/>
            <a:ext cx="4648087" cy="96101"/>
          </a:xfrm>
          <a:prstGeom prst="bentConnector2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oval" w="med" len="med"/>
            <a:tailEnd type="oval"/>
          </a:ln>
          <a:effectLst/>
        </p:spPr>
      </p:cxnSp>
      <p:cxnSp>
        <p:nvCxnSpPr>
          <p:cNvPr id="40" name="Elbow Connector 39"/>
          <p:cNvCxnSpPr>
            <a:stCxn id="51" idx="2"/>
            <a:endCxn id="12" idx="0"/>
          </p:cNvCxnSpPr>
          <p:nvPr/>
        </p:nvCxnSpPr>
        <p:spPr bwMode="gray">
          <a:xfrm rot="5400000">
            <a:off x="6489337" y="4677083"/>
            <a:ext cx="181369" cy="968247"/>
          </a:xfrm>
          <a:prstGeom prst="bentConnector3">
            <a:avLst>
              <a:gd name="adj1" fmla="val 47901"/>
            </a:avLst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oval" w="med" len="med"/>
            <a:tailEnd type="oval"/>
          </a:ln>
          <a:effectLst/>
        </p:spPr>
      </p:cxnSp>
      <p:cxnSp>
        <p:nvCxnSpPr>
          <p:cNvPr id="41" name="Elbow Connector 40"/>
          <p:cNvCxnSpPr>
            <a:stCxn id="50" idx="2"/>
            <a:endCxn id="12" idx="0"/>
          </p:cNvCxnSpPr>
          <p:nvPr/>
        </p:nvCxnSpPr>
        <p:spPr bwMode="gray">
          <a:xfrm rot="16200000" flipH="1">
            <a:off x="5534413" y="4690403"/>
            <a:ext cx="193904" cy="929064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oval" w="med" len="med"/>
            <a:tailEnd type="oval"/>
          </a:ln>
          <a:effectLst/>
        </p:spPr>
      </p:cxnSp>
      <p:cxnSp>
        <p:nvCxnSpPr>
          <p:cNvPr id="42" name="Elbow Connector 41"/>
          <p:cNvCxnSpPr>
            <a:stCxn id="52" idx="2"/>
            <a:endCxn id="12" idx="0"/>
          </p:cNvCxnSpPr>
          <p:nvPr/>
        </p:nvCxnSpPr>
        <p:spPr bwMode="gray">
          <a:xfrm rot="5400000">
            <a:off x="6055321" y="5096780"/>
            <a:ext cx="195689" cy="114523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round/>
            <a:headEnd type="oval" w="med" len="med"/>
            <a:tailEnd type="oval"/>
          </a:ln>
          <a:effectLst/>
        </p:spPr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149F1DD-DE85-4766-99E7-3F840E244502}"/>
              </a:ext>
            </a:extLst>
          </p:cNvPr>
          <p:cNvGrpSpPr/>
          <p:nvPr/>
        </p:nvGrpSpPr>
        <p:grpSpPr>
          <a:xfrm>
            <a:off x="556280" y="3265775"/>
            <a:ext cx="11038549" cy="1861976"/>
            <a:chOff x="1301887" y="2517515"/>
            <a:chExt cx="7332351" cy="1375678"/>
          </a:xfrm>
        </p:grpSpPr>
        <p:pic>
          <p:nvPicPr>
            <p:cNvPr id="44" name="Picture 43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1301887" y="2569553"/>
              <a:ext cx="6745628" cy="1316139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6384453" y="3009799"/>
              <a:ext cx="348188" cy="340948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587792" y="2796542"/>
              <a:ext cx="412496" cy="403918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6167401" y="2571119"/>
              <a:ext cx="391146" cy="383012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5836726" y="3009799"/>
              <a:ext cx="348188" cy="340948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6812976" y="3352382"/>
              <a:ext cx="353062" cy="444409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236256" y="3423886"/>
              <a:ext cx="256379" cy="417763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5488609" y="3602886"/>
              <a:ext cx="272249" cy="248023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4923597" y="3560411"/>
              <a:ext cx="268103" cy="279917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3245225" y="3257614"/>
              <a:ext cx="622878" cy="565418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7938570" y="2517515"/>
              <a:ext cx="695668" cy="1375678"/>
            </a:xfrm>
            <a:prstGeom prst="rect">
              <a:avLst/>
            </a:prstGeom>
          </p:spPr>
        </p:pic>
      </p:grpSp>
      <p:sp>
        <p:nvSpPr>
          <p:cNvPr id="105" name="footNoteFull"/>
          <p:cNvSpPr txBox="1"/>
          <p:nvPr>
            <p:custDataLst>
              <p:tags r:id="rId4"/>
            </p:custDataLst>
          </p:nvPr>
        </p:nvSpPr>
        <p:spPr bwMode="gray">
          <a:xfrm>
            <a:off x="431799" y="6154052"/>
            <a:ext cx="11323140" cy="223833"/>
          </a:xfrm>
          <a:prstGeom prst="rect">
            <a:avLst/>
          </a:prstGeom>
          <a:noFill/>
        </p:spPr>
        <p:txBody>
          <a:bodyPr lIns="0" tIns="0" rIns="0" bIns="0" anchor="b" anchorCtr="0"/>
          <a:lstStyle>
            <a:defPPr>
              <a:defRPr lang="de-DE"/>
            </a:defPPr>
            <a:lvl1pPr marR="0" lvl="0" indent="0" fontAlgn="auto">
              <a:spcBef>
                <a:spcPts val="0"/>
              </a:spcBef>
              <a:buClrTx/>
              <a:buSzTx/>
              <a:buFont typeface="Arial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defTabSz="914377"/>
            <a:r>
              <a:rPr lang="en-US" dirty="0">
                <a:solidFill>
                  <a:prstClr val="black"/>
                </a:solidFill>
                <a:latin typeface="Delivery" panose="020F0503020204020204" pitchFamily="34" charset="0"/>
              </a:rPr>
              <a:t>Source: AD Program Team; primary application of technologies across logistics process shown – not exhaustive; e.g. Indoor Robotic Transport also applicable for picking &amp; support processes</a:t>
            </a:r>
          </a:p>
        </p:txBody>
      </p:sp>
    </p:spTree>
    <p:extLst>
      <p:ext uri="{BB962C8B-B14F-4D97-AF65-F5344CB8AC3E}">
        <p14:creationId xmlns:p14="http://schemas.microsoft.com/office/powerpoint/2010/main" val="692236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0qe2hI5uteWHRQyDWN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orMvKcdxV7D_5G3uA1D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aAPMb58rl_IzBC0sfi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SnVGnT2t1siJyv.Ufy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vROfTTiot6q_XXl1IFy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bHLHdRuinVtH82xvWWC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ULUoTviKzW43jBuxXBV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bxRTxpzLy5RRvtkKF7i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SgkKQqnQ2oCN0FLfhVR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CVQWN3PF0KgL9TcyRd.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HdkHR2Z_YBhXQq9x.WB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4cI2eODgKWvOJmCx66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0qe2hI5uteWHRQyDWN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efsRZ1zzqUqqKr.4kVW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0qe2hI5uteWHRQyDWN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bxRTxpzLy5RRvtkKF7i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8N6YlzXrAXbNkfd0yq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.b6pwCIGYLhZST7ER9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orMvKcdxV7D_5G3uA1D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aAPMb58rl_IzBC0sfi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SnVGnT2t1siJyv.Ufy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vROfTTiot6q_XXl1IFy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bHLHdRuinVtH82xvWWC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ULUoTviKzW43jBuxXBV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SgkKQqnQ2oCN0FLfhVR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CVQWN3PF0KgL9TcyRd.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HdkHR2Z_YBhXQq9x.WB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4cI2eODgKWvOJmCx66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0qe2hI5uteWHRQyDWN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bxRTxpzLy5RRvtkKF7i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8N6YlzXrAXbNkfd0yq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.b6pwCIGYLhZST7ER9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orMvKcdxV7D_5G3uA1D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aAPMb58rl_IzBC0sfi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SnVGnT2t1siJyv.Ufy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vROfTTiot6q_XXl1IFy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bHLHdRuinVtH82xvWWC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ULUoTviKzW43jBuxXBV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SgkKQqnQ2oCN0FLfhVR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8N6YlzXrAXbNkfd0yq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CVQWN3PF0KgL9TcyRd.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HdkHR2Z_YBhXQq9x.WB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4cI2eODgKWvOJmCx66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bxRTxpzLy5RRvtkKF7i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.b6pwCIGYLhZST7ER9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8N6YlzXrAXbNkfd0y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.b6pwCIGYLhZST7ER9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orMvKcdxV7D_5G3uA1D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aAPMb58rl_IzBC0sfi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SnVGnT2t1siJyv.Ufy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vROfTTiot6q_XXl1IFy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bHLHdRuinVtH82xvWWC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ULUoTviKzW43jBuxXBV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RHoPkOI_fyX1iCdhKU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SgkKQqnQ2oCN0FLfhVR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CVQWN3PF0KgL9TcyRd.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HdkHR2Z_YBhXQq9x.WB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4cI2eODgKWvOJmCx66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0qe2hI5uteWHRQyDWN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WroOp_PPL.QMDiwOiXo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6L_cwpDqktHl6W5y1B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fRnJ0UVXcrEPeXk.4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orMvKcdxV7D_5G3uA1D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WroOp_PPL.QMDiwOiX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6L_cwpDqktHl6W5y1BC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RfRnJ0UVXcrEPeXk.4L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HLLlvgVadNBKvEY1j.n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yMjXOUbugRciKJK.7wb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yMjXOUbugRciKJK.7wb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aAPMb58rl_IzBC0sfi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5jU6HQ0G8FR8UemVWR3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5jU6HQ0G8FR8UemVWR3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5jU6HQ0G8FR8UemVWR3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dViVbWsoE0f43CP2dcC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z_9y9QPiEp_IyjmQqq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otNoteFull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EcznJdRY6ExCQnWckQh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otNoteFull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1S3o8dZ.KcD82oLumBm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SnVGnT2t1siJyv.Ufy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mQMSaPS1OUIhPOmNDyH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ZScqePtgEVU074pPfuU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_PRdwwdrA6bDgKPdXbn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xV4YuS0DiMiv9J2lkl_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tingMast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vROfTTiot6q_XXl1IF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bHLHdRuinVtH82xvWWC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ULUoTviKzW43jBuxXB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SnVGnT2t1siJyv.Ufy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oDlu_bhxQpZKT0jwRI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SgkKQqnQ2oCN0FLfhVR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JenGNz4b3FiC7Zfn1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CVQWN3PF0KgL9TcyRd.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HdkHR2Z_YBhXQq9x.WB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4cI2eODgKWvOJmCx66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0qe2hI5uteWHRQyDWN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efsRZ1zzqUqqKr.4kVW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0qe2hI5uteWHRQyDWN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bxRTxpzLy5RRvtkKF7i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waUVpvHbMBz4Exfgg0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KuiSfNPvKeScojqEfs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8N6YlzXrAXbNkfd0yq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.b6pwCIGYLhZST7ER9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vl7K1wC7q77OxwbhQl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5F9AAFB4-877B-43D6-906B-E4E3FD94F981}" vid="{C4253FEE-C69A-4E15-8F84-F102923E5F68}"/>
    </a:ext>
  </a:extLst>
</a:theme>
</file>

<file path=ppt/theme/theme2.xml><?xml version="1.0" encoding="utf-8"?>
<a:theme xmlns:a="http://schemas.openxmlformats.org/drawingml/2006/main" name="3_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>
            <a:alpha val="55000"/>
          </a:schemeClr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16x9_ADDITIONAL_LOGO - OK.potx" id="{582CB117-4671-4292-B6B1-23EEBBEF6DD8}" vid="{DEBE72ED-E840-4709-B384-D1756D38BC36}"/>
    </a:ext>
  </a:extLst>
</a:theme>
</file>

<file path=ppt/theme/theme3.xml><?xml version="1.0" encoding="utf-8"?>
<a:theme xmlns:a="http://schemas.openxmlformats.org/drawingml/2006/main" name="4_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>
            <a:alpha val="55000"/>
          </a:schemeClr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16x9_ADDITIONAL_LOGO - OK.potx" id="{582CB117-4671-4292-B6B1-23EEBBEF6DD8}" vid="{DEBE72ED-E840-4709-B384-D1756D38BC36}"/>
    </a:ext>
  </a:extLst>
</a:theme>
</file>

<file path=ppt/theme/theme4.xml><?xml version="1.0" encoding="utf-8"?>
<a:theme xmlns:a="http://schemas.openxmlformats.org/drawingml/2006/main" name="5_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>
            <a:alpha val="55000"/>
          </a:schemeClr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16x9_ADDITIONAL_LOGO - OK.potx" id="{582CB117-4671-4292-B6B1-23EEBBEF6DD8}" vid="{DEBE72ED-E840-4709-B384-D1756D38BC36}"/>
    </a:ext>
  </a:extLst>
</a:theme>
</file>

<file path=ppt/theme/theme5.xml><?xml version="1.0" encoding="utf-8"?>
<a:theme xmlns:a="http://schemas.openxmlformats.org/drawingml/2006/main" name="7_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IC_template_2020.pptx" id="{E907D4E5-B2BA-4F9C-9EFB-375342F09313}" vid="{F7232F47-FB40-4D69-9B91-8020866338EE}"/>
    </a:ext>
  </a:extLst>
</a:theme>
</file>

<file path=ppt/theme/theme6.xml><?xml version="1.0" encoding="utf-8"?>
<a:theme xmlns:a="http://schemas.openxmlformats.org/drawingml/2006/main" name="6_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>
            <a:alpha val="55000"/>
          </a:schemeClr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16x9_ADDITIONAL_LOGO - OK.potx" id="{582CB117-4671-4292-B6B1-23EEBBEF6DD8}" vid="{DEBE72ED-E840-4709-B384-D1756D38BC36}"/>
    </a:ext>
  </a:extLst>
</a:theme>
</file>

<file path=ppt/theme/theme7.xml><?xml version="1.0" encoding="utf-8"?>
<a:theme xmlns:a="http://schemas.openxmlformats.org/drawingml/2006/main" name="1_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5570019F-1CF2-4B48-8372-12F59DCFF0B6}" vid="{0EBE26C9-4E0D-40E0-A340-F5D098C1830D}"/>
    </a:ext>
  </a:extLst>
</a:theme>
</file>

<file path=ppt/theme/theme8.xml><?xml version="1.0" encoding="utf-8"?>
<a:theme xmlns:a="http://schemas.openxmlformats.org/drawingml/2006/main" name="2_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5570019F-1CF2-4B48-8372-12F59DCFF0B6}" vid="{0EBE26C9-4E0D-40E0-A340-F5D098C1830D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56</Words>
  <Application>Microsoft Office PowerPoint</Application>
  <PresentationFormat>Widescreen</PresentationFormat>
  <Paragraphs>234</Paragraphs>
  <Slides>1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6" baseType="lpstr">
      <vt:lpstr>Aharoni</vt:lpstr>
      <vt:lpstr>Arial</vt:lpstr>
      <vt:lpstr>Calibri</vt:lpstr>
      <vt:lpstr>Delivery</vt:lpstr>
      <vt:lpstr>Delivery Arabic Cd Black</vt:lpstr>
      <vt:lpstr>Delivery Cd Black</vt:lpstr>
      <vt:lpstr>Delivery Cd Light</vt:lpstr>
      <vt:lpstr>DengXian</vt:lpstr>
      <vt:lpstr>Symbol</vt:lpstr>
      <vt:lpstr>Trebuchet MS</vt:lpstr>
      <vt:lpstr>Wingdings</vt:lpstr>
      <vt:lpstr>DHL</vt:lpstr>
      <vt:lpstr>3_DHL_PPT_16x9</vt:lpstr>
      <vt:lpstr>4_DHL_PPT_16x9</vt:lpstr>
      <vt:lpstr>5_DHL_PPT_16x9</vt:lpstr>
      <vt:lpstr>7_DHL_PPT_16x9</vt:lpstr>
      <vt:lpstr>6_DHL_PPT_16x9</vt:lpstr>
      <vt:lpstr>1_DHL</vt:lpstr>
      <vt:lpstr>2_DHL</vt:lpstr>
      <vt:lpstr>think-cell Slide</vt:lpstr>
      <vt:lpstr>CLOUD &amp; API’s</vt:lpstr>
      <vt:lpstr>The DHL Logistics Trend RadarTM</vt:lpstr>
      <vt:lpstr>CLOUD &amp; API‘S</vt:lpstr>
      <vt:lpstr>UNDERSTANDING CLOUD &amp; API’S</vt:lpstr>
      <vt:lpstr>WHY NOW?</vt:lpstr>
      <vt:lpstr>MAJOR OPPORTUNITIES FOR CLOUD &amp; API’S IN LOGISTICS</vt:lpstr>
      <vt:lpstr>DHL Supply chain Robotics hub (drh)</vt:lpstr>
      <vt:lpstr>DHL SUPPLY CHAIN ROBOTICS HUB </vt:lpstr>
      <vt:lpstr>Our  vision: To optimize supply chains end-to-end – using best in class robotic solutions and actionable data</vt:lpstr>
      <vt:lpstr>The Robotics Hub is a collaborative platform that orchestrates Robotics and Automation by offering pre-connectivity between technologies and systems</vt:lpstr>
      <vt:lpstr>What’s in it for you? Robotics Hub levers will support our functions to smoothly ensure our customers success</vt:lpstr>
      <vt:lpstr>Robotics Hub Architecture </vt:lpstr>
      <vt:lpstr>In addition to more efficient integration, the robotics hub also provides standard and continuous data feeds for reporting and potential 3D interaction opportunities</vt:lpstr>
      <vt:lpstr>This journey already started: our Spanish team deployed eight 6 River Systems Chucks at Tiendanimal, Toledo using the DHL Robotics Hub</vt:lpstr>
      <vt:lpstr>Our prioritization method ensures to deliver the most impactful opportunities for our businesses</vt:lpstr>
      <vt:lpstr>Robotics Hub Opportunity Journey </vt:lpstr>
    </vt:vector>
  </TitlesOfParts>
  <Company>DH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GISTiCS TREND RADAR</dc:title>
  <dc:creator>Dominik Goetting (DHL CSI)</dc:creator>
  <cp:lastModifiedBy>Ben Gesing (DHL CSI)</cp:lastModifiedBy>
  <cp:revision>482</cp:revision>
  <cp:lastPrinted>2020-10-21T13:22:02Z</cp:lastPrinted>
  <dcterms:created xsi:type="dcterms:W3CDTF">2020-09-15T15:31:20Z</dcterms:created>
  <dcterms:modified xsi:type="dcterms:W3CDTF">2021-06-01T16:14:59Z</dcterms:modified>
</cp:coreProperties>
</file>